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323" r:id="rId2"/>
    <p:sldId id="290" r:id="rId3"/>
    <p:sldId id="263" r:id="rId4"/>
    <p:sldId id="267" r:id="rId5"/>
    <p:sldId id="268" r:id="rId6"/>
    <p:sldId id="278" r:id="rId7"/>
    <p:sldId id="315" r:id="rId8"/>
    <p:sldId id="317" r:id="rId9"/>
    <p:sldId id="322" r:id="rId10"/>
    <p:sldId id="320" r:id="rId11"/>
    <p:sldId id="321" r:id="rId12"/>
    <p:sldId id="273" r:id="rId13"/>
    <p:sldId id="316" r:id="rId14"/>
    <p:sldId id="266" r:id="rId15"/>
    <p:sldId id="274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68" userDrawn="1">
          <p15:clr>
            <a:srgbClr val="A4A3A4"/>
          </p15:clr>
        </p15:guide>
        <p15:guide id="4" pos="7560" userDrawn="1">
          <p15:clr>
            <a:srgbClr val="A4A3A4"/>
          </p15:clr>
        </p15:guide>
        <p15:guide id="5" orient="horz" pos="168" userDrawn="1">
          <p15:clr>
            <a:srgbClr val="A4A3A4"/>
          </p15:clr>
        </p15:guide>
        <p15:guide id="6" orient="horz" pos="415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8497B0"/>
    <a:srgbClr val="295268"/>
    <a:srgbClr val="366C89"/>
    <a:srgbClr val="7C7273"/>
    <a:srgbClr val="EA7D50"/>
    <a:srgbClr val="FFC836"/>
    <a:srgbClr val="D1F134"/>
    <a:srgbClr val="2BC9F6"/>
    <a:srgbClr val="459E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811" autoAdjust="0"/>
    <p:restoredTop sz="83364"/>
  </p:normalViewPr>
  <p:slideViewPr>
    <p:cSldViewPr snapToGrid="0" showGuides="1">
      <p:cViewPr varScale="1">
        <p:scale>
          <a:sx n="77" d="100"/>
          <a:sy n="77" d="100"/>
        </p:scale>
        <p:origin x="864" y="78"/>
      </p:cViewPr>
      <p:guideLst>
        <p:guide orient="horz" pos="2160"/>
        <p:guide pos="3840"/>
        <p:guide pos="168"/>
        <p:guide pos="7560"/>
        <p:guide orient="horz" pos="168"/>
        <p:guide orient="horz" pos="4152"/>
      </p:guideLst>
    </p:cSldViewPr>
  </p:slideViewPr>
  <p:notesTextViewPr>
    <p:cViewPr>
      <p:scale>
        <a:sx n="90" d="100"/>
        <a:sy n="9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10DDBB-2A8A-FC4D-9061-09F201895D0D}" type="datetimeFigureOut">
              <a:rPr lang="pt-BR" smtClean="0"/>
              <a:t>11/03/2020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pt-BR"/>
              <a:t>Editar estilos de texto Mestre
Segundo nível
Terceiro nível
Quarto nível
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4B11C8-80B0-2A45-AE04-3D9E78DB082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439380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B11C8-80B0-2A45-AE04-3D9E78DB0823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22432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B11C8-80B0-2A45-AE04-3D9E78DB0823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54490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B11C8-80B0-2A45-AE04-3D9E78DB0823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904428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B11C8-80B0-2A45-AE04-3D9E78DB0823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368352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B11C8-80B0-2A45-AE04-3D9E78DB0823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71490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B11C8-80B0-2A45-AE04-3D9E78DB0823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122991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B11C8-80B0-2A45-AE04-3D9E78DB0823}" type="slidenum">
              <a:rPr lang="pt-BR" smtClean="0"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749222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B11C8-80B0-2A45-AE04-3D9E78DB0823}" type="slidenum">
              <a:rPr lang="pt-BR" smtClean="0"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194795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B11C8-80B0-2A45-AE04-3D9E78DB0823}" type="slidenum">
              <a:rPr lang="pt-BR" smtClean="0"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50305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8259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59517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8643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629400" y="401014"/>
            <a:ext cx="5219700" cy="6167245"/>
          </a:xfrm>
          <a:custGeom>
            <a:avLst/>
            <a:gdLst>
              <a:gd name="connsiteX0" fmla="*/ 2641895 w 4738322"/>
              <a:gd name="connsiteY0" fmla="*/ 954 h 6167245"/>
              <a:gd name="connsiteX1" fmla="*/ 2809420 w 4738322"/>
              <a:gd name="connsiteY1" fmla="*/ 71385 h 6167245"/>
              <a:gd name="connsiteX2" fmla="*/ 3036704 w 4738322"/>
              <a:gd name="connsiteY2" fmla="*/ 728113 h 6167245"/>
              <a:gd name="connsiteX3" fmla="*/ 3408003 w 4738322"/>
              <a:gd name="connsiteY3" fmla="*/ 1258940 h 6167245"/>
              <a:gd name="connsiteX4" fmla="*/ 3450223 w 4738322"/>
              <a:gd name="connsiteY4" fmla="*/ 1378579 h 6167245"/>
              <a:gd name="connsiteX5" fmla="*/ 4461888 w 4738322"/>
              <a:gd name="connsiteY5" fmla="*/ 546303 h 6167245"/>
              <a:gd name="connsiteX6" fmla="*/ 4570646 w 4738322"/>
              <a:gd name="connsiteY6" fmla="*/ 1668285 h 6167245"/>
              <a:gd name="connsiteX7" fmla="*/ 2900079 w 4738322"/>
              <a:gd name="connsiteY7" fmla="*/ 5817359 h 6167245"/>
              <a:gd name="connsiteX8" fmla="*/ 2689941 w 4738322"/>
              <a:gd name="connsiteY8" fmla="*/ 5938701 h 6167245"/>
              <a:gd name="connsiteX9" fmla="*/ 2336760 w 4738322"/>
              <a:gd name="connsiteY9" fmla="*/ 6165064 h 6167245"/>
              <a:gd name="connsiteX10" fmla="*/ 1813131 w 4738322"/>
              <a:gd name="connsiteY10" fmla="*/ 5739378 h 6167245"/>
              <a:gd name="connsiteX11" fmla="*/ 1713406 w 4738322"/>
              <a:gd name="connsiteY11" fmla="*/ 4667130 h 6167245"/>
              <a:gd name="connsiteX12" fmla="*/ 1610587 w 4738322"/>
              <a:gd name="connsiteY12" fmla="*/ 4646040 h 6167245"/>
              <a:gd name="connsiteX13" fmla="*/ 1603471 w 4738322"/>
              <a:gd name="connsiteY13" fmla="*/ 4828918 h 6167245"/>
              <a:gd name="connsiteX14" fmla="*/ 1027610 w 4738322"/>
              <a:gd name="connsiteY14" fmla="*/ 5180263 h 6167245"/>
              <a:gd name="connsiteX15" fmla="*/ 579080 w 4738322"/>
              <a:gd name="connsiteY15" fmla="*/ 4706464 h 6167245"/>
              <a:gd name="connsiteX16" fmla="*/ 483324 w 4738322"/>
              <a:gd name="connsiteY16" fmla="*/ 4029880 h 6167245"/>
              <a:gd name="connsiteX17" fmla="*/ 205009 w 4738322"/>
              <a:gd name="connsiteY17" fmla="*/ 4168717 h 6167245"/>
              <a:gd name="connsiteX18" fmla="*/ 44601 w 4738322"/>
              <a:gd name="connsiteY18" fmla="*/ 3737196 h 6167245"/>
              <a:gd name="connsiteX19" fmla="*/ 63121 w 4738322"/>
              <a:gd name="connsiteY19" fmla="*/ 3079236 h 6167245"/>
              <a:gd name="connsiteX20" fmla="*/ 1240377 w 4738322"/>
              <a:gd name="connsiteY20" fmla="*/ 405372 h 6167245"/>
              <a:gd name="connsiteX21" fmla="*/ 1461758 w 4738322"/>
              <a:gd name="connsiteY21" fmla="*/ 152882 h 6167245"/>
              <a:gd name="connsiteX22" fmla="*/ 2056205 w 4738322"/>
              <a:gd name="connsiteY22" fmla="*/ 267345 h 6167245"/>
              <a:gd name="connsiteX23" fmla="*/ 2177884 w 4738322"/>
              <a:gd name="connsiteY23" fmla="*/ 430016 h 6167245"/>
              <a:gd name="connsiteX24" fmla="*/ 2247653 w 4738322"/>
              <a:gd name="connsiteY24" fmla="*/ 311640 h 6167245"/>
              <a:gd name="connsiteX25" fmla="*/ 2641895 w 4738322"/>
              <a:gd name="connsiteY25" fmla="*/ 954 h 6167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738322" h="6167245">
                <a:moveTo>
                  <a:pt x="2641895" y="954"/>
                </a:moveTo>
                <a:cubicBezTo>
                  <a:pt x="2692899" y="5504"/>
                  <a:pt x="2748728" y="26663"/>
                  <a:pt x="2809420" y="71385"/>
                </a:cubicBezTo>
                <a:cubicBezTo>
                  <a:pt x="3133112" y="309903"/>
                  <a:pt x="2980953" y="722261"/>
                  <a:pt x="3036704" y="728113"/>
                </a:cubicBezTo>
                <a:cubicBezTo>
                  <a:pt x="3092456" y="733965"/>
                  <a:pt x="3400604" y="744683"/>
                  <a:pt x="3408003" y="1258940"/>
                </a:cubicBezTo>
                <a:cubicBezTo>
                  <a:pt x="3412669" y="1772845"/>
                  <a:pt x="3450223" y="1378579"/>
                  <a:pt x="3450223" y="1378579"/>
                </a:cubicBezTo>
                <a:cubicBezTo>
                  <a:pt x="3450223" y="1378579"/>
                  <a:pt x="4026888" y="143821"/>
                  <a:pt x="4461888" y="546303"/>
                </a:cubicBezTo>
                <a:cubicBezTo>
                  <a:pt x="4895241" y="947260"/>
                  <a:pt x="4728019" y="1306483"/>
                  <a:pt x="4570646" y="1668285"/>
                </a:cubicBezTo>
                <a:cubicBezTo>
                  <a:pt x="4413273" y="2030087"/>
                  <a:pt x="2900079" y="5817359"/>
                  <a:pt x="2900079" y="5817359"/>
                </a:cubicBezTo>
                <a:cubicBezTo>
                  <a:pt x="2900079" y="5817359"/>
                  <a:pt x="2919076" y="5889378"/>
                  <a:pt x="2689941" y="5938701"/>
                </a:cubicBezTo>
                <a:cubicBezTo>
                  <a:pt x="2689941" y="5938701"/>
                  <a:pt x="2607319" y="6193269"/>
                  <a:pt x="2336760" y="6165064"/>
                </a:cubicBezTo>
                <a:cubicBezTo>
                  <a:pt x="2067286" y="6135685"/>
                  <a:pt x="1846800" y="5983947"/>
                  <a:pt x="1813131" y="5739378"/>
                </a:cubicBezTo>
                <a:cubicBezTo>
                  <a:pt x="1778376" y="5495981"/>
                  <a:pt x="1752505" y="4720729"/>
                  <a:pt x="1713406" y="4667130"/>
                </a:cubicBezTo>
                <a:cubicBezTo>
                  <a:pt x="1674869" y="4616230"/>
                  <a:pt x="1617703" y="4463162"/>
                  <a:pt x="1610587" y="4646040"/>
                </a:cubicBezTo>
                <a:cubicBezTo>
                  <a:pt x="1603471" y="4828918"/>
                  <a:pt x="1603471" y="4828918"/>
                  <a:pt x="1603471" y="4828918"/>
                </a:cubicBezTo>
                <a:cubicBezTo>
                  <a:pt x="1603471" y="4828918"/>
                  <a:pt x="1624343" y="5312086"/>
                  <a:pt x="1027610" y="5180263"/>
                </a:cubicBezTo>
                <a:cubicBezTo>
                  <a:pt x="429228" y="5046915"/>
                  <a:pt x="610075" y="4867984"/>
                  <a:pt x="579080" y="4706464"/>
                </a:cubicBezTo>
                <a:cubicBezTo>
                  <a:pt x="547522" y="4542247"/>
                  <a:pt x="524633" y="4087701"/>
                  <a:pt x="483324" y="4029880"/>
                </a:cubicBezTo>
                <a:cubicBezTo>
                  <a:pt x="442015" y="3972060"/>
                  <a:pt x="305559" y="4268284"/>
                  <a:pt x="205009" y="4168717"/>
                </a:cubicBezTo>
                <a:cubicBezTo>
                  <a:pt x="205009" y="4168717"/>
                  <a:pt x="136153" y="4163807"/>
                  <a:pt x="44601" y="3737196"/>
                </a:cubicBezTo>
                <a:cubicBezTo>
                  <a:pt x="-46389" y="3313283"/>
                  <a:pt x="23651" y="3240890"/>
                  <a:pt x="63121" y="3079236"/>
                </a:cubicBezTo>
                <a:cubicBezTo>
                  <a:pt x="104239" y="2919107"/>
                  <a:pt x="1240377" y="405372"/>
                  <a:pt x="1240377" y="405372"/>
                </a:cubicBezTo>
                <a:cubicBezTo>
                  <a:pt x="1240377" y="405372"/>
                  <a:pt x="1308304" y="252627"/>
                  <a:pt x="1461758" y="152882"/>
                </a:cubicBezTo>
                <a:cubicBezTo>
                  <a:pt x="1615775" y="55835"/>
                  <a:pt x="1744939" y="5481"/>
                  <a:pt x="2056205" y="267345"/>
                </a:cubicBezTo>
                <a:cubicBezTo>
                  <a:pt x="2056205" y="267345"/>
                  <a:pt x="2152781" y="341458"/>
                  <a:pt x="2177884" y="430016"/>
                </a:cubicBezTo>
                <a:cubicBezTo>
                  <a:pt x="2177884" y="430016"/>
                  <a:pt x="2193296" y="357167"/>
                  <a:pt x="2247653" y="311640"/>
                </a:cubicBezTo>
                <a:cubicBezTo>
                  <a:pt x="2290479" y="273411"/>
                  <a:pt x="2420880" y="-18761"/>
                  <a:pt x="2641895" y="954"/>
                </a:cubicBezTo>
                <a:close/>
              </a:path>
            </a:pathLst>
          </a:custGeom>
        </p:spPr>
        <p:txBody>
          <a:bodyPr wrap="square" anchor="ctr" anchorCtr="1"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dirty="0"/>
              <a:t>Picture </a:t>
            </a:r>
          </a:p>
        </p:txBody>
      </p:sp>
    </p:spTree>
    <p:extLst>
      <p:ext uri="{BB962C8B-B14F-4D97-AF65-F5344CB8AC3E}">
        <p14:creationId xmlns:p14="http://schemas.microsoft.com/office/powerpoint/2010/main" val="5843637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6516669" y="335557"/>
            <a:ext cx="5391951" cy="6522443"/>
          </a:xfrm>
          <a:custGeom>
            <a:avLst/>
            <a:gdLst>
              <a:gd name="connsiteX0" fmla="*/ 3015155 w 5391951"/>
              <a:gd name="connsiteY0" fmla="*/ 1005 h 6556950"/>
              <a:gd name="connsiteX1" fmla="*/ 3177943 w 5391951"/>
              <a:gd name="connsiteY1" fmla="*/ 81221 h 6556950"/>
              <a:gd name="connsiteX2" fmla="*/ 3343125 w 5391951"/>
              <a:gd name="connsiteY2" fmla="*/ 836275 h 6556950"/>
              <a:gd name="connsiteX3" fmla="*/ 3667035 w 5391951"/>
              <a:gd name="connsiteY3" fmla="*/ 1444886 h 6556950"/>
              <a:gd name="connsiteX4" fmla="*/ 3699298 w 5391951"/>
              <a:gd name="connsiteY4" fmla="*/ 1583268 h 6556950"/>
              <a:gd name="connsiteX5" fmla="*/ 4805241 w 5391951"/>
              <a:gd name="connsiteY5" fmla="*/ 617283 h 6556950"/>
              <a:gd name="connsiteX6" fmla="*/ 4805241 w 5391951"/>
              <a:gd name="connsiteY6" fmla="*/ 1908398 h 6556950"/>
              <a:gd name="connsiteX7" fmla="*/ 4745879 w 5391951"/>
              <a:gd name="connsiteY7" fmla="*/ 2040062 h 6556950"/>
              <a:gd name="connsiteX8" fmla="*/ 5025913 w 5391951"/>
              <a:gd name="connsiteY8" fmla="*/ 1974230 h 6556950"/>
              <a:gd name="connsiteX9" fmla="*/ 5094309 w 5391951"/>
              <a:gd name="connsiteY9" fmla="*/ 2428337 h 6556950"/>
              <a:gd name="connsiteX10" fmla="*/ 5278848 w 5391951"/>
              <a:gd name="connsiteY10" fmla="*/ 2773620 h 6556950"/>
              <a:gd name="connsiteX11" fmla="*/ 4685226 w 5391951"/>
              <a:gd name="connsiteY11" fmla="*/ 3955910 h 6556950"/>
              <a:gd name="connsiteX12" fmla="*/ 5247877 w 5391951"/>
              <a:gd name="connsiteY12" fmla="*/ 3485681 h 6556950"/>
              <a:gd name="connsiteX13" fmla="*/ 5153671 w 5391951"/>
              <a:gd name="connsiteY13" fmla="*/ 4346873 h 6556950"/>
              <a:gd name="connsiteX14" fmla="*/ 4298081 w 5391951"/>
              <a:gd name="connsiteY14" fmla="*/ 5856980 h 6556950"/>
              <a:gd name="connsiteX15" fmla="*/ 4160000 w 5391951"/>
              <a:gd name="connsiteY15" fmla="*/ 6004767 h 6556950"/>
              <a:gd name="connsiteX16" fmla="*/ 3846413 w 5391951"/>
              <a:gd name="connsiteY16" fmla="*/ 6046416 h 6556950"/>
              <a:gd name="connsiteX17" fmla="*/ 3670907 w 5391951"/>
              <a:gd name="connsiteY17" fmla="*/ 5785774 h 6556950"/>
              <a:gd name="connsiteX18" fmla="*/ 3783179 w 5391951"/>
              <a:gd name="connsiteY18" fmla="*/ 5389438 h 6556950"/>
              <a:gd name="connsiteX19" fmla="*/ 3732850 w 5391951"/>
              <a:gd name="connsiteY19" fmla="*/ 5417652 h 6556950"/>
              <a:gd name="connsiteX20" fmla="*/ 3679941 w 5391951"/>
              <a:gd name="connsiteY20" fmla="*/ 5553347 h 6556950"/>
              <a:gd name="connsiteX21" fmla="*/ 3131485 w 5391951"/>
              <a:gd name="connsiteY21" fmla="*/ 6556950 h 6556950"/>
              <a:gd name="connsiteX22" fmla="*/ 3068252 w 5391951"/>
              <a:gd name="connsiteY22" fmla="*/ 6556950 h 6556950"/>
              <a:gd name="connsiteX23" fmla="*/ 2764988 w 5391951"/>
              <a:gd name="connsiteY23" fmla="*/ 6556950 h 6556950"/>
              <a:gd name="connsiteX24" fmla="*/ 1301581 w 5391951"/>
              <a:gd name="connsiteY24" fmla="*/ 6519332 h 6556950"/>
              <a:gd name="connsiteX25" fmla="*/ 1615169 w 5391951"/>
              <a:gd name="connsiteY25" fmla="*/ 5378690 h 6556950"/>
              <a:gd name="connsiteX26" fmla="*/ 1513221 w 5391951"/>
              <a:gd name="connsiteY26" fmla="*/ 5353163 h 6556950"/>
              <a:gd name="connsiteX27" fmla="*/ 1327391 w 5391951"/>
              <a:gd name="connsiteY27" fmla="*/ 5815331 h 6556950"/>
              <a:gd name="connsiteX28" fmla="*/ 869270 w 5391951"/>
              <a:gd name="connsiteY28" fmla="*/ 5971179 h 6556950"/>
              <a:gd name="connsiteX29" fmla="*/ 461477 w 5391951"/>
              <a:gd name="connsiteY29" fmla="*/ 5427056 h 6556950"/>
              <a:gd name="connsiteX30" fmla="*/ 431796 w 5391951"/>
              <a:gd name="connsiteY30" fmla="*/ 4650506 h 6556950"/>
              <a:gd name="connsiteX31" fmla="*/ 136276 w 5391951"/>
              <a:gd name="connsiteY31" fmla="*/ 4813071 h 6556950"/>
              <a:gd name="connsiteX32" fmla="*/ 16261 w 5391951"/>
              <a:gd name="connsiteY32" fmla="*/ 4317315 h 6556950"/>
              <a:gd name="connsiteX33" fmla="*/ 100142 w 5391951"/>
              <a:gd name="connsiteY33" fmla="*/ 3558231 h 6556950"/>
              <a:gd name="connsiteX34" fmla="*/ 1554516 w 5391951"/>
              <a:gd name="connsiteY34" fmla="*/ 473527 h 6556950"/>
              <a:gd name="connsiteX35" fmla="*/ 1803579 w 5391951"/>
              <a:gd name="connsiteY35" fmla="*/ 183328 h 6556950"/>
              <a:gd name="connsiteX36" fmla="*/ 2395911 w 5391951"/>
              <a:gd name="connsiteY36" fmla="*/ 309618 h 6556950"/>
              <a:gd name="connsiteX37" fmla="*/ 2503021 w 5391951"/>
              <a:gd name="connsiteY37" fmla="*/ 497710 h 6556950"/>
              <a:gd name="connsiteX38" fmla="*/ 2584321 w 5391951"/>
              <a:gd name="connsiteY38" fmla="*/ 359328 h 6556950"/>
              <a:gd name="connsiteX39" fmla="*/ 3015155 w 5391951"/>
              <a:gd name="connsiteY39" fmla="*/ 1005 h 6556950"/>
              <a:gd name="connsiteX0" fmla="*/ 3015155 w 5391951"/>
              <a:gd name="connsiteY0" fmla="*/ 1005 h 6561183"/>
              <a:gd name="connsiteX1" fmla="*/ 3177943 w 5391951"/>
              <a:gd name="connsiteY1" fmla="*/ 81221 h 6561183"/>
              <a:gd name="connsiteX2" fmla="*/ 3343125 w 5391951"/>
              <a:gd name="connsiteY2" fmla="*/ 836275 h 6561183"/>
              <a:gd name="connsiteX3" fmla="*/ 3667035 w 5391951"/>
              <a:gd name="connsiteY3" fmla="*/ 1444886 h 6561183"/>
              <a:gd name="connsiteX4" fmla="*/ 3699298 w 5391951"/>
              <a:gd name="connsiteY4" fmla="*/ 1583268 h 6561183"/>
              <a:gd name="connsiteX5" fmla="*/ 4805241 w 5391951"/>
              <a:gd name="connsiteY5" fmla="*/ 617283 h 6561183"/>
              <a:gd name="connsiteX6" fmla="*/ 4805241 w 5391951"/>
              <a:gd name="connsiteY6" fmla="*/ 1908398 h 6561183"/>
              <a:gd name="connsiteX7" fmla="*/ 4745879 w 5391951"/>
              <a:gd name="connsiteY7" fmla="*/ 2040062 h 6561183"/>
              <a:gd name="connsiteX8" fmla="*/ 5025913 w 5391951"/>
              <a:gd name="connsiteY8" fmla="*/ 1974230 h 6561183"/>
              <a:gd name="connsiteX9" fmla="*/ 5094309 w 5391951"/>
              <a:gd name="connsiteY9" fmla="*/ 2428337 h 6561183"/>
              <a:gd name="connsiteX10" fmla="*/ 5278848 w 5391951"/>
              <a:gd name="connsiteY10" fmla="*/ 2773620 h 6561183"/>
              <a:gd name="connsiteX11" fmla="*/ 4685226 w 5391951"/>
              <a:gd name="connsiteY11" fmla="*/ 3955910 h 6561183"/>
              <a:gd name="connsiteX12" fmla="*/ 5247877 w 5391951"/>
              <a:gd name="connsiteY12" fmla="*/ 3485681 h 6561183"/>
              <a:gd name="connsiteX13" fmla="*/ 5153671 w 5391951"/>
              <a:gd name="connsiteY13" fmla="*/ 4346873 h 6561183"/>
              <a:gd name="connsiteX14" fmla="*/ 4298081 w 5391951"/>
              <a:gd name="connsiteY14" fmla="*/ 5856980 h 6561183"/>
              <a:gd name="connsiteX15" fmla="*/ 4160000 w 5391951"/>
              <a:gd name="connsiteY15" fmla="*/ 6004767 h 6561183"/>
              <a:gd name="connsiteX16" fmla="*/ 3846413 w 5391951"/>
              <a:gd name="connsiteY16" fmla="*/ 6046416 h 6561183"/>
              <a:gd name="connsiteX17" fmla="*/ 3670907 w 5391951"/>
              <a:gd name="connsiteY17" fmla="*/ 5785774 h 6561183"/>
              <a:gd name="connsiteX18" fmla="*/ 3783179 w 5391951"/>
              <a:gd name="connsiteY18" fmla="*/ 5389438 h 6561183"/>
              <a:gd name="connsiteX19" fmla="*/ 3732850 w 5391951"/>
              <a:gd name="connsiteY19" fmla="*/ 5417652 h 6561183"/>
              <a:gd name="connsiteX20" fmla="*/ 3679941 w 5391951"/>
              <a:gd name="connsiteY20" fmla="*/ 5553347 h 6561183"/>
              <a:gd name="connsiteX21" fmla="*/ 3182285 w 5391951"/>
              <a:gd name="connsiteY21" fmla="*/ 6499800 h 6561183"/>
              <a:gd name="connsiteX22" fmla="*/ 3068252 w 5391951"/>
              <a:gd name="connsiteY22" fmla="*/ 6556950 h 6561183"/>
              <a:gd name="connsiteX23" fmla="*/ 2764988 w 5391951"/>
              <a:gd name="connsiteY23" fmla="*/ 6556950 h 6561183"/>
              <a:gd name="connsiteX24" fmla="*/ 1301581 w 5391951"/>
              <a:gd name="connsiteY24" fmla="*/ 6519332 h 6561183"/>
              <a:gd name="connsiteX25" fmla="*/ 1615169 w 5391951"/>
              <a:gd name="connsiteY25" fmla="*/ 5378690 h 6561183"/>
              <a:gd name="connsiteX26" fmla="*/ 1513221 w 5391951"/>
              <a:gd name="connsiteY26" fmla="*/ 5353163 h 6561183"/>
              <a:gd name="connsiteX27" fmla="*/ 1327391 w 5391951"/>
              <a:gd name="connsiteY27" fmla="*/ 5815331 h 6561183"/>
              <a:gd name="connsiteX28" fmla="*/ 869270 w 5391951"/>
              <a:gd name="connsiteY28" fmla="*/ 5971179 h 6561183"/>
              <a:gd name="connsiteX29" fmla="*/ 461477 w 5391951"/>
              <a:gd name="connsiteY29" fmla="*/ 5427056 h 6561183"/>
              <a:gd name="connsiteX30" fmla="*/ 431796 w 5391951"/>
              <a:gd name="connsiteY30" fmla="*/ 4650506 h 6561183"/>
              <a:gd name="connsiteX31" fmla="*/ 136276 w 5391951"/>
              <a:gd name="connsiteY31" fmla="*/ 4813071 h 6561183"/>
              <a:gd name="connsiteX32" fmla="*/ 16261 w 5391951"/>
              <a:gd name="connsiteY32" fmla="*/ 4317315 h 6561183"/>
              <a:gd name="connsiteX33" fmla="*/ 100142 w 5391951"/>
              <a:gd name="connsiteY33" fmla="*/ 3558231 h 6561183"/>
              <a:gd name="connsiteX34" fmla="*/ 1554516 w 5391951"/>
              <a:gd name="connsiteY34" fmla="*/ 473527 h 6561183"/>
              <a:gd name="connsiteX35" fmla="*/ 1803579 w 5391951"/>
              <a:gd name="connsiteY35" fmla="*/ 183328 h 6561183"/>
              <a:gd name="connsiteX36" fmla="*/ 2395911 w 5391951"/>
              <a:gd name="connsiteY36" fmla="*/ 309618 h 6561183"/>
              <a:gd name="connsiteX37" fmla="*/ 2503021 w 5391951"/>
              <a:gd name="connsiteY37" fmla="*/ 497710 h 6561183"/>
              <a:gd name="connsiteX38" fmla="*/ 2584321 w 5391951"/>
              <a:gd name="connsiteY38" fmla="*/ 359328 h 6561183"/>
              <a:gd name="connsiteX39" fmla="*/ 3015155 w 5391951"/>
              <a:gd name="connsiteY39" fmla="*/ 1005 h 6561183"/>
              <a:gd name="connsiteX0" fmla="*/ 3015155 w 5391951"/>
              <a:gd name="connsiteY0" fmla="*/ 1005 h 6569908"/>
              <a:gd name="connsiteX1" fmla="*/ 3177943 w 5391951"/>
              <a:gd name="connsiteY1" fmla="*/ 81221 h 6569908"/>
              <a:gd name="connsiteX2" fmla="*/ 3343125 w 5391951"/>
              <a:gd name="connsiteY2" fmla="*/ 836275 h 6569908"/>
              <a:gd name="connsiteX3" fmla="*/ 3667035 w 5391951"/>
              <a:gd name="connsiteY3" fmla="*/ 1444886 h 6569908"/>
              <a:gd name="connsiteX4" fmla="*/ 3699298 w 5391951"/>
              <a:gd name="connsiteY4" fmla="*/ 1583268 h 6569908"/>
              <a:gd name="connsiteX5" fmla="*/ 4805241 w 5391951"/>
              <a:gd name="connsiteY5" fmla="*/ 617283 h 6569908"/>
              <a:gd name="connsiteX6" fmla="*/ 4805241 w 5391951"/>
              <a:gd name="connsiteY6" fmla="*/ 1908398 h 6569908"/>
              <a:gd name="connsiteX7" fmla="*/ 4745879 w 5391951"/>
              <a:gd name="connsiteY7" fmla="*/ 2040062 h 6569908"/>
              <a:gd name="connsiteX8" fmla="*/ 5025913 w 5391951"/>
              <a:gd name="connsiteY8" fmla="*/ 1974230 h 6569908"/>
              <a:gd name="connsiteX9" fmla="*/ 5094309 w 5391951"/>
              <a:gd name="connsiteY9" fmla="*/ 2428337 h 6569908"/>
              <a:gd name="connsiteX10" fmla="*/ 5278848 w 5391951"/>
              <a:gd name="connsiteY10" fmla="*/ 2773620 h 6569908"/>
              <a:gd name="connsiteX11" fmla="*/ 4685226 w 5391951"/>
              <a:gd name="connsiteY11" fmla="*/ 3955910 h 6569908"/>
              <a:gd name="connsiteX12" fmla="*/ 5247877 w 5391951"/>
              <a:gd name="connsiteY12" fmla="*/ 3485681 h 6569908"/>
              <a:gd name="connsiteX13" fmla="*/ 5153671 w 5391951"/>
              <a:gd name="connsiteY13" fmla="*/ 4346873 h 6569908"/>
              <a:gd name="connsiteX14" fmla="*/ 4298081 w 5391951"/>
              <a:gd name="connsiteY14" fmla="*/ 5856980 h 6569908"/>
              <a:gd name="connsiteX15" fmla="*/ 4160000 w 5391951"/>
              <a:gd name="connsiteY15" fmla="*/ 6004767 h 6569908"/>
              <a:gd name="connsiteX16" fmla="*/ 3846413 w 5391951"/>
              <a:gd name="connsiteY16" fmla="*/ 6046416 h 6569908"/>
              <a:gd name="connsiteX17" fmla="*/ 3670907 w 5391951"/>
              <a:gd name="connsiteY17" fmla="*/ 5785774 h 6569908"/>
              <a:gd name="connsiteX18" fmla="*/ 3783179 w 5391951"/>
              <a:gd name="connsiteY18" fmla="*/ 5389438 h 6569908"/>
              <a:gd name="connsiteX19" fmla="*/ 3732850 w 5391951"/>
              <a:gd name="connsiteY19" fmla="*/ 5417652 h 6569908"/>
              <a:gd name="connsiteX20" fmla="*/ 3679941 w 5391951"/>
              <a:gd name="connsiteY20" fmla="*/ 5553347 h 6569908"/>
              <a:gd name="connsiteX21" fmla="*/ 3182285 w 5391951"/>
              <a:gd name="connsiteY21" fmla="*/ 6499800 h 6569908"/>
              <a:gd name="connsiteX22" fmla="*/ 3023802 w 5391951"/>
              <a:gd name="connsiteY22" fmla="*/ 6506150 h 6569908"/>
              <a:gd name="connsiteX23" fmla="*/ 2764988 w 5391951"/>
              <a:gd name="connsiteY23" fmla="*/ 6556950 h 6569908"/>
              <a:gd name="connsiteX24" fmla="*/ 1301581 w 5391951"/>
              <a:gd name="connsiteY24" fmla="*/ 6519332 h 6569908"/>
              <a:gd name="connsiteX25" fmla="*/ 1615169 w 5391951"/>
              <a:gd name="connsiteY25" fmla="*/ 5378690 h 6569908"/>
              <a:gd name="connsiteX26" fmla="*/ 1513221 w 5391951"/>
              <a:gd name="connsiteY26" fmla="*/ 5353163 h 6569908"/>
              <a:gd name="connsiteX27" fmla="*/ 1327391 w 5391951"/>
              <a:gd name="connsiteY27" fmla="*/ 5815331 h 6569908"/>
              <a:gd name="connsiteX28" fmla="*/ 869270 w 5391951"/>
              <a:gd name="connsiteY28" fmla="*/ 5971179 h 6569908"/>
              <a:gd name="connsiteX29" fmla="*/ 461477 w 5391951"/>
              <a:gd name="connsiteY29" fmla="*/ 5427056 h 6569908"/>
              <a:gd name="connsiteX30" fmla="*/ 431796 w 5391951"/>
              <a:gd name="connsiteY30" fmla="*/ 4650506 h 6569908"/>
              <a:gd name="connsiteX31" fmla="*/ 136276 w 5391951"/>
              <a:gd name="connsiteY31" fmla="*/ 4813071 h 6569908"/>
              <a:gd name="connsiteX32" fmla="*/ 16261 w 5391951"/>
              <a:gd name="connsiteY32" fmla="*/ 4317315 h 6569908"/>
              <a:gd name="connsiteX33" fmla="*/ 100142 w 5391951"/>
              <a:gd name="connsiteY33" fmla="*/ 3558231 h 6569908"/>
              <a:gd name="connsiteX34" fmla="*/ 1554516 w 5391951"/>
              <a:gd name="connsiteY34" fmla="*/ 473527 h 6569908"/>
              <a:gd name="connsiteX35" fmla="*/ 1803579 w 5391951"/>
              <a:gd name="connsiteY35" fmla="*/ 183328 h 6569908"/>
              <a:gd name="connsiteX36" fmla="*/ 2395911 w 5391951"/>
              <a:gd name="connsiteY36" fmla="*/ 309618 h 6569908"/>
              <a:gd name="connsiteX37" fmla="*/ 2503021 w 5391951"/>
              <a:gd name="connsiteY37" fmla="*/ 497710 h 6569908"/>
              <a:gd name="connsiteX38" fmla="*/ 2584321 w 5391951"/>
              <a:gd name="connsiteY38" fmla="*/ 359328 h 6569908"/>
              <a:gd name="connsiteX39" fmla="*/ 3015155 w 5391951"/>
              <a:gd name="connsiteY39" fmla="*/ 1005 h 6569908"/>
              <a:gd name="connsiteX0" fmla="*/ 3015155 w 5391951"/>
              <a:gd name="connsiteY0" fmla="*/ 1005 h 6571092"/>
              <a:gd name="connsiteX1" fmla="*/ 3177943 w 5391951"/>
              <a:gd name="connsiteY1" fmla="*/ 81221 h 6571092"/>
              <a:gd name="connsiteX2" fmla="*/ 3343125 w 5391951"/>
              <a:gd name="connsiteY2" fmla="*/ 836275 h 6571092"/>
              <a:gd name="connsiteX3" fmla="*/ 3667035 w 5391951"/>
              <a:gd name="connsiteY3" fmla="*/ 1444886 h 6571092"/>
              <a:gd name="connsiteX4" fmla="*/ 3699298 w 5391951"/>
              <a:gd name="connsiteY4" fmla="*/ 1583268 h 6571092"/>
              <a:gd name="connsiteX5" fmla="*/ 4805241 w 5391951"/>
              <a:gd name="connsiteY5" fmla="*/ 617283 h 6571092"/>
              <a:gd name="connsiteX6" fmla="*/ 4805241 w 5391951"/>
              <a:gd name="connsiteY6" fmla="*/ 1908398 h 6571092"/>
              <a:gd name="connsiteX7" fmla="*/ 4745879 w 5391951"/>
              <a:gd name="connsiteY7" fmla="*/ 2040062 h 6571092"/>
              <a:gd name="connsiteX8" fmla="*/ 5025913 w 5391951"/>
              <a:gd name="connsiteY8" fmla="*/ 1974230 h 6571092"/>
              <a:gd name="connsiteX9" fmla="*/ 5094309 w 5391951"/>
              <a:gd name="connsiteY9" fmla="*/ 2428337 h 6571092"/>
              <a:gd name="connsiteX10" fmla="*/ 5278848 w 5391951"/>
              <a:gd name="connsiteY10" fmla="*/ 2773620 h 6571092"/>
              <a:gd name="connsiteX11" fmla="*/ 4685226 w 5391951"/>
              <a:gd name="connsiteY11" fmla="*/ 3955910 h 6571092"/>
              <a:gd name="connsiteX12" fmla="*/ 5247877 w 5391951"/>
              <a:gd name="connsiteY12" fmla="*/ 3485681 h 6571092"/>
              <a:gd name="connsiteX13" fmla="*/ 5153671 w 5391951"/>
              <a:gd name="connsiteY13" fmla="*/ 4346873 h 6571092"/>
              <a:gd name="connsiteX14" fmla="*/ 4298081 w 5391951"/>
              <a:gd name="connsiteY14" fmla="*/ 5856980 h 6571092"/>
              <a:gd name="connsiteX15" fmla="*/ 4160000 w 5391951"/>
              <a:gd name="connsiteY15" fmla="*/ 6004767 h 6571092"/>
              <a:gd name="connsiteX16" fmla="*/ 3846413 w 5391951"/>
              <a:gd name="connsiteY16" fmla="*/ 6046416 h 6571092"/>
              <a:gd name="connsiteX17" fmla="*/ 3670907 w 5391951"/>
              <a:gd name="connsiteY17" fmla="*/ 5785774 h 6571092"/>
              <a:gd name="connsiteX18" fmla="*/ 3783179 w 5391951"/>
              <a:gd name="connsiteY18" fmla="*/ 5389438 h 6571092"/>
              <a:gd name="connsiteX19" fmla="*/ 3732850 w 5391951"/>
              <a:gd name="connsiteY19" fmla="*/ 5417652 h 6571092"/>
              <a:gd name="connsiteX20" fmla="*/ 3679941 w 5391951"/>
              <a:gd name="connsiteY20" fmla="*/ 5553347 h 6571092"/>
              <a:gd name="connsiteX21" fmla="*/ 3182285 w 5391951"/>
              <a:gd name="connsiteY21" fmla="*/ 6499800 h 6571092"/>
              <a:gd name="connsiteX22" fmla="*/ 3023802 w 5391951"/>
              <a:gd name="connsiteY22" fmla="*/ 6506150 h 6571092"/>
              <a:gd name="connsiteX23" fmla="*/ 2764988 w 5391951"/>
              <a:gd name="connsiteY23" fmla="*/ 6525200 h 6571092"/>
              <a:gd name="connsiteX24" fmla="*/ 1301581 w 5391951"/>
              <a:gd name="connsiteY24" fmla="*/ 6519332 h 6571092"/>
              <a:gd name="connsiteX25" fmla="*/ 1615169 w 5391951"/>
              <a:gd name="connsiteY25" fmla="*/ 5378690 h 6571092"/>
              <a:gd name="connsiteX26" fmla="*/ 1513221 w 5391951"/>
              <a:gd name="connsiteY26" fmla="*/ 5353163 h 6571092"/>
              <a:gd name="connsiteX27" fmla="*/ 1327391 w 5391951"/>
              <a:gd name="connsiteY27" fmla="*/ 5815331 h 6571092"/>
              <a:gd name="connsiteX28" fmla="*/ 869270 w 5391951"/>
              <a:gd name="connsiteY28" fmla="*/ 5971179 h 6571092"/>
              <a:gd name="connsiteX29" fmla="*/ 461477 w 5391951"/>
              <a:gd name="connsiteY29" fmla="*/ 5427056 h 6571092"/>
              <a:gd name="connsiteX30" fmla="*/ 431796 w 5391951"/>
              <a:gd name="connsiteY30" fmla="*/ 4650506 h 6571092"/>
              <a:gd name="connsiteX31" fmla="*/ 136276 w 5391951"/>
              <a:gd name="connsiteY31" fmla="*/ 4813071 h 6571092"/>
              <a:gd name="connsiteX32" fmla="*/ 16261 w 5391951"/>
              <a:gd name="connsiteY32" fmla="*/ 4317315 h 6571092"/>
              <a:gd name="connsiteX33" fmla="*/ 100142 w 5391951"/>
              <a:gd name="connsiteY33" fmla="*/ 3558231 h 6571092"/>
              <a:gd name="connsiteX34" fmla="*/ 1554516 w 5391951"/>
              <a:gd name="connsiteY34" fmla="*/ 473527 h 6571092"/>
              <a:gd name="connsiteX35" fmla="*/ 1803579 w 5391951"/>
              <a:gd name="connsiteY35" fmla="*/ 183328 h 6571092"/>
              <a:gd name="connsiteX36" fmla="*/ 2395911 w 5391951"/>
              <a:gd name="connsiteY36" fmla="*/ 309618 h 6571092"/>
              <a:gd name="connsiteX37" fmla="*/ 2503021 w 5391951"/>
              <a:gd name="connsiteY37" fmla="*/ 497710 h 6571092"/>
              <a:gd name="connsiteX38" fmla="*/ 2584321 w 5391951"/>
              <a:gd name="connsiteY38" fmla="*/ 359328 h 6571092"/>
              <a:gd name="connsiteX39" fmla="*/ 3015155 w 5391951"/>
              <a:gd name="connsiteY39" fmla="*/ 1005 h 6571092"/>
              <a:gd name="connsiteX0" fmla="*/ 3015155 w 5391951"/>
              <a:gd name="connsiteY0" fmla="*/ 1005 h 6585572"/>
              <a:gd name="connsiteX1" fmla="*/ 3177943 w 5391951"/>
              <a:gd name="connsiteY1" fmla="*/ 81221 h 6585572"/>
              <a:gd name="connsiteX2" fmla="*/ 3343125 w 5391951"/>
              <a:gd name="connsiteY2" fmla="*/ 836275 h 6585572"/>
              <a:gd name="connsiteX3" fmla="*/ 3667035 w 5391951"/>
              <a:gd name="connsiteY3" fmla="*/ 1444886 h 6585572"/>
              <a:gd name="connsiteX4" fmla="*/ 3699298 w 5391951"/>
              <a:gd name="connsiteY4" fmla="*/ 1583268 h 6585572"/>
              <a:gd name="connsiteX5" fmla="*/ 4805241 w 5391951"/>
              <a:gd name="connsiteY5" fmla="*/ 617283 h 6585572"/>
              <a:gd name="connsiteX6" fmla="*/ 4805241 w 5391951"/>
              <a:gd name="connsiteY6" fmla="*/ 1908398 h 6585572"/>
              <a:gd name="connsiteX7" fmla="*/ 4745879 w 5391951"/>
              <a:gd name="connsiteY7" fmla="*/ 2040062 h 6585572"/>
              <a:gd name="connsiteX8" fmla="*/ 5025913 w 5391951"/>
              <a:gd name="connsiteY8" fmla="*/ 1974230 h 6585572"/>
              <a:gd name="connsiteX9" fmla="*/ 5094309 w 5391951"/>
              <a:gd name="connsiteY9" fmla="*/ 2428337 h 6585572"/>
              <a:gd name="connsiteX10" fmla="*/ 5278848 w 5391951"/>
              <a:gd name="connsiteY10" fmla="*/ 2773620 h 6585572"/>
              <a:gd name="connsiteX11" fmla="*/ 4685226 w 5391951"/>
              <a:gd name="connsiteY11" fmla="*/ 3955910 h 6585572"/>
              <a:gd name="connsiteX12" fmla="*/ 5247877 w 5391951"/>
              <a:gd name="connsiteY12" fmla="*/ 3485681 h 6585572"/>
              <a:gd name="connsiteX13" fmla="*/ 5153671 w 5391951"/>
              <a:gd name="connsiteY13" fmla="*/ 4346873 h 6585572"/>
              <a:gd name="connsiteX14" fmla="*/ 4298081 w 5391951"/>
              <a:gd name="connsiteY14" fmla="*/ 5856980 h 6585572"/>
              <a:gd name="connsiteX15" fmla="*/ 4160000 w 5391951"/>
              <a:gd name="connsiteY15" fmla="*/ 6004767 h 6585572"/>
              <a:gd name="connsiteX16" fmla="*/ 3846413 w 5391951"/>
              <a:gd name="connsiteY16" fmla="*/ 6046416 h 6585572"/>
              <a:gd name="connsiteX17" fmla="*/ 3670907 w 5391951"/>
              <a:gd name="connsiteY17" fmla="*/ 5785774 h 6585572"/>
              <a:gd name="connsiteX18" fmla="*/ 3783179 w 5391951"/>
              <a:gd name="connsiteY18" fmla="*/ 5389438 h 6585572"/>
              <a:gd name="connsiteX19" fmla="*/ 3732850 w 5391951"/>
              <a:gd name="connsiteY19" fmla="*/ 5417652 h 6585572"/>
              <a:gd name="connsiteX20" fmla="*/ 3679941 w 5391951"/>
              <a:gd name="connsiteY20" fmla="*/ 5553347 h 6585572"/>
              <a:gd name="connsiteX21" fmla="*/ 3182285 w 5391951"/>
              <a:gd name="connsiteY21" fmla="*/ 6499800 h 6585572"/>
              <a:gd name="connsiteX22" fmla="*/ 2922202 w 5391951"/>
              <a:gd name="connsiteY22" fmla="*/ 6544250 h 6585572"/>
              <a:gd name="connsiteX23" fmla="*/ 2764988 w 5391951"/>
              <a:gd name="connsiteY23" fmla="*/ 6525200 h 6585572"/>
              <a:gd name="connsiteX24" fmla="*/ 1301581 w 5391951"/>
              <a:gd name="connsiteY24" fmla="*/ 6519332 h 6585572"/>
              <a:gd name="connsiteX25" fmla="*/ 1615169 w 5391951"/>
              <a:gd name="connsiteY25" fmla="*/ 5378690 h 6585572"/>
              <a:gd name="connsiteX26" fmla="*/ 1513221 w 5391951"/>
              <a:gd name="connsiteY26" fmla="*/ 5353163 h 6585572"/>
              <a:gd name="connsiteX27" fmla="*/ 1327391 w 5391951"/>
              <a:gd name="connsiteY27" fmla="*/ 5815331 h 6585572"/>
              <a:gd name="connsiteX28" fmla="*/ 869270 w 5391951"/>
              <a:gd name="connsiteY28" fmla="*/ 5971179 h 6585572"/>
              <a:gd name="connsiteX29" fmla="*/ 461477 w 5391951"/>
              <a:gd name="connsiteY29" fmla="*/ 5427056 h 6585572"/>
              <a:gd name="connsiteX30" fmla="*/ 431796 w 5391951"/>
              <a:gd name="connsiteY30" fmla="*/ 4650506 h 6585572"/>
              <a:gd name="connsiteX31" fmla="*/ 136276 w 5391951"/>
              <a:gd name="connsiteY31" fmla="*/ 4813071 h 6585572"/>
              <a:gd name="connsiteX32" fmla="*/ 16261 w 5391951"/>
              <a:gd name="connsiteY32" fmla="*/ 4317315 h 6585572"/>
              <a:gd name="connsiteX33" fmla="*/ 100142 w 5391951"/>
              <a:gd name="connsiteY33" fmla="*/ 3558231 h 6585572"/>
              <a:gd name="connsiteX34" fmla="*/ 1554516 w 5391951"/>
              <a:gd name="connsiteY34" fmla="*/ 473527 h 6585572"/>
              <a:gd name="connsiteX35" fmla="*/ 1803579 w 5391951"/>
              <a:gd name="connsiteY35" fmla="*/ 183328 h 6585572"/>
              <a:gd name="connsiteX36" fmla="*/ 2395911 w 5391951"/>
              <a:gd name="connsiteY36" fmla="*/ 309618 h 6585572"/>
              <a:gd name="connsiteX37" fmla="*/ 2503021 w 5391951"/>
              <a:gd name="connsiteY37" fmla="*/ 497710 h 6585572"/>
              <a:gd name="connsiteX38" fmla="*/ 2584321 w 5391951"/>
              <a:gd name="connsiteY38" fmla="*/ 359328 h 6585572"/>
              <a:gd name="connsiteX39" fmla="*/ 3015155 w 5391951"/>
              <a:gd name="connsiteY39" fmla="*/ 1005 h 6585572"/>
              <a:gd name="connsiteX0" fmla="*/ 3015155 w 5391951"/>
              <a:gd name="connsiteY0" fmla="*/ 1005 h 6577926"/>
              <a:gd name="connsiteX1" fmla="*/ 3177943 w 5391951"/>
              <a:gd name="connsiteY1" fmla="*/ 81221 h 6577926"/>
              <a:gd name="connsiteX2" fmla="*/ 3343125 w 5391951"/>
              <a:gd name="connsiteY2" fmla="*/ 836275 h 6577926"/>
              <a:gd name="connsiteX3" fmla="*/ 3667035 w 5391951"/>
              <a:gd name="connsiteY3" fmla="*/ 1444886 h 6577926"/>
              <a:gd name="connsiteX4" fmla="*/ 3699298 w 5391951"/>
              <a:gd name="connsiteY4" fmla="*/ 1583268 h 6577926"/>
              <a:gd name="connsiteX5" fmla="*/ 4805241 w 5391951"/>
              <a:gd name="connsiteY5" fmla="*/ 617283 h 6577926"/>
              <a:gd name="connsiteX6" fmla="*/ 4805241 w 5391951"/>
              <a:gd name="connsiteY6" fmla="*/ 1908398 h 6577926"/>
              <a:gd name="connsiteX7" fmla="*/ 4745879 w 5391951"/>
              <a:gd name="connsiteY7" fmla="*/ 2040062 h 6577926"/>
              <a:gd name="connsiteX8" fmla="*/ 5025913 w 5391951"/>
              <a:gd name="connsiteY8" fmla="*/ 1974230 h 6577926"/>
              <a:gd name="connsiteX9" fmla="*/ 5094309 w 5391951"/>
              <a:gd name="connsiteY9" fmla="*/ 2428337 h 6577926"/>
              <a:gd name="connsiteX10" fmla="*/ 5278848 w 5391951"/>
              <a:gd name="connsiteY10" fmla="*/ 2773620 h 6577926"/>
              <a:gd name="connsiteX11" fmla="*/ 4685226 w 5391951"/>
              <a:gd name="connsiteY11" fmla="*/ 3955910 h 6577926"/>
              <a:gd name="connsiteX12" fmla="*/ 5247877 w 5391951"/>
              <a:gd name="connsiteY12" fmla="*/ 3485681 h 6577926"/>
              <a:gd name="connsiteX13" fmla="*/ 5153671 w 5391951"/>
              <a:gd name="connsiteY13" fmla="*/ 4346873 h 6577926"/>
              <a:gd name="connsiteX14" fmla="*/ 4298081 w 5391951"/>
              <a:gd name="connsiteY14" fmla="*/ 5856980 h 6577926"/>
              <a:gd name="connsiteX15" fmla="*/ 4160000 w 5391951"/>
              <a:gd name="connsiteY15" fmla="*/ 6004767 h 6577926"/>
              <a:gd name="connsiteX16" fmla="*/ 3846413 w 5391951"/>
              <a:gd name="connsiteY16" fmla="*/ 6046416 h 6577926"/>
              <a:gd name="connsiteX17" fmla="*/ 3670907 w 5391951"/>
              <a:gd name="connsiteY17" fmla="*/ 5785774 h 6577926"/>
              <a:gd name="connsiteX18" fmla="*/ 3783179 w 5391951"/>
              <a:gd name="connsiteY18" fmla="*/ 5389438 h 6577926"/>
              <a:gd name="connsiteX19" fmla="*/ 3732850 w 5391951"/>
              <a:gd name="connsiteY19" fmla="*/ 5417652 h 6577926"/>
              <a:gd name="connsiteX20" fmla="*/ 3679941 w 5391951"/>
              <a:gd name="connsiteY20" fmla="*/ 5553347 h 6577926"/>
              <a:gd name="connsiteX21" fmla="*/ 3182285 w 5391951"/>
              <a:gd name="connsiteY21" fmla="*/ 6499800 h 6577926"/>
              <a:gd name="connsiteX22" fmla="*/ 3061902 w 5391951"/>
              <a:gd name="connsiteY22" fmla="*/ 6525200 h 6577926"/>
              <a:gd name="connsiteX23" fmla="*/ 2764988 w 5391951"/>
              <a:gd name="connsiteY23" fmla="*/ 6525200 h 6577926"/>
              <a:gd name="connsiteX24" fmla="*/ 1301581 w 5391951"/>
              <a:gd name="connsiteY24" fmla="*/ 6519332 h 6577926"/>
              <a:gd name="connsiteX25" fmla="*/ 1615169 w 5391951"/>
              <a:gd name="connsiteY25" fmla="*/ 5378690 h 6577926"/>
              <a:gd name="connsiteX26" fmla="*/ 1513221 w 5391951"/>
              <a:gd name="connsiteY26" fmla="*/ 5353163 h 6577926"/>
              <a:gd name="connsiteX27" fmla="*/ 1327391 w 5391951"/>
              <a:gd name="connsiteY27" fmla="*/ 5815331 h 6577926"/>
              <a:gd name="connsiteX28" fmla="*/ 869270 w 5391951"/>
              <a:gd name="connsiteY28" fmla="*/ 5971179 h 6577926"/>
              <a:gd name="connsiteX29" fmla="*/ 461477 w 5391951"/>
              <a:gd name="connsiteY29" fmla="*/ 5427056 h 6577926"/>
              <a:gd name="connsiteX30" fmla="*/ 431796 w 5391951"/>
              <a:gd name="connsiteY30" fmla="*/ 4650506 h 6577926"/>
              <a:gd name="connsiteX31" fmla="*/ 136276 w 5391951"/>
              <a:gd name="connsiteY31" fmla="*/ 4813071 h 6577926"/>
              <a:gd name="connsiteX32" fmla="*/ 16261 w 5391951"/>
              <a:gd name="connsiteY32" fmla="*/ 4317315 h 6577926"/>
              <a:gd name="connsiteX33" fmla="*/ 100142 w 5391951"/>
              <a:gd name="connsiteY33" fmla="*/ 3558231 h 6577926"/>
              <a:gd name="connsiteX34" fmla="*/ 1554516 w 5391951"/>
              <a:gd name="connsiteY34" fmla="*/ 473527 h 6577926"/>
              <a:gd name="connsiteX35" fmla="*/ 1803579 w 5391951"/>
              <a:gd name="connsiteY35" fmla="*/ 183328 h 6577926"/>
              <a:gd name="connsiteX36" fmla="*/ 2395911 w 5391951"/>
              <a:gd name="connsiteY36" fmla="*/ 309618 h 6577926"/>
              <a:gd name="connsiteX37" fmla="*/ 2503021 w 5391951"/>
              <a:gd name="connsiteY37" fmla="*/ 497710 h 6577926"/>
              <a:gd name="connsiteX38" fmla="*/ 2584321 w 5391951"/>
              <a:gd name="connsiteY38" fmla="*/ 359328 h 6577926"/>
              <a:gd name="connsiteX39" fmla="*/ 3015155 w 5391951"/>
              <a:gd name="connsiteY39" fmla="*/ 1005 h 6577926"/>
              <a:gd name="connsiteX0" fmla="*/ 3015155 w 5391951"/>
              <a:gd name="connsiteY0" fmla="*/ 1005 h 6527318"/>
              <a:gd name="connsiteX1" fmla="*/ 3177943 w 5391951"/>
              <a:gd name="connsiteY1" fmla="*/ 81221 h 6527318"/>
              <a:gd name="connsiteX2" fmla="*/ 3343125 w 5391951"/>
              <a:gd name="connsiteY2" fmla="*/ 836275 h 6527318"/>
              <a:gd name="connsiteX3" fmla="*/ 3667035 w 5391951"/>
              <a:gd name="connsiteY3" fmla="*/ 1444886 h 6527318"/>
              <a:gd name="connsiteX4" fmla="*/ 3699298 w 5391951"/>
              <a:gd name="connsiteY4" fmla="*/ 1583268 h 6527318"/>
              <a:gd name="connsiteX5" fmla="*/ 4805241 w 5391951"/>
              <a:gd name="connsiteY5" fmla="*/ 617283 h 6527318"/>
              <a:gd name="connsiteX6" fmla="*/ 4805241 w 5391951"/>
              <a:gd name="connsiteY6" fmla="*/ 1908398 h 6527318"/>
              <a:gd name="connsiteX7" fmla="*/ 4745879 w 5391951"/>
              <a:gd name="connsiteY7" fmla="*/ 2040062 h 6527318"/>
              <a:gd name="connsiteX8" fmla="*/ 5025913 w 5391951"/>
              <a:gd name="connsiteY8" fmla="*/ 1974230 h 6527318"/>
              <a:gd name="connsiteX9" fmla="*/ 5094309 w 5391951"/>
              <a:gd name="connsiteY9" fmla="*/ 2428337 h 6527318"/>
              <a:gd name="connsiteX10" fmla="*/ 5278848 w 5391951"/>
              <a:gd name="connsiteY10" fmla="*/ 2773620 h 6527318"/>
              <a:gd name="connsiteX11" fmla="*/ 4685226 w 5391951"/>
              <a:gd name="connsiteY11" fmla="*/ 3955910 h 6527318"/>
              <a:gd name="connsiteX12" fmla="*/ 5247877 w 5391951"/>
              <a:gd name="connsiteY12" fmla="*/ 3485681 h 6527318"/>
              <a:gd name="connsiteX13" fmla="*/ 5153671 w 5391951"/>
              <a:gd name="connsiteY13" fmla="*/ 4346873 h 6527318"/>
              <a:gd name="connsiteX14" fmla="*/ 4298081 w 5391951"/>
              <a:gd name="connsiteY14" fmla="*/ 5856980 h 6527318"/>
              <a:gd name="connsiteX15" fmla="*/ 4160000 w 5391951"/>
              <a:gd name="connsiteY15" fmla="*/ 6004767 h 6527318"/>
              <a:gd name="connsiteX16" fmla="*/ 3846413 w 5391951"/>
              <a:gd name="connsiteY16" fmla="*/ 6046416 h 6527318"/>
              <a:gd name="connsiteX17" fmla="*/ 3670907 w 5391951"/>
              <a:gd name="connsiteY17" fmla="*/ 5785774 h 6527318"/>
              <a:gd name="connsiteX18" fmla="*/ 3783179 w 5391951"/>
              <a:gd name="connsiteY18" fmla="*/ 5389438 h 6527318"/>
              <a:gd name="connsiteX19" fmla="*/ 3732850 w 5391951"/>
              <a:gd name="connsiteY19" fmla="*/ 5417652 h 6527318"/>
              <a:gd name="connsiteX20" fmla="*/ 3679941 w 5391951"/>
              <a:gd name="connsiteY20" fmla="*/ 5553347 h 6527318"/>
              <a:gd name="connsiteX21" fmla="*/ 3182285 w 5391951"/>
              <a:gd name="connsiteY21" fmla="*/ 6499800 h 6527318"/>
              <a:gd name="connsiteX22" fmla="*/ 3061902 w 5391951"/>
              <a:gd name="connsiteY22" fmla="*/ 6525200 h 6527318"/>
              <a:gd name="connsiteX23" fmla="*/ 2764988 w 5391951"/>
              <a:gd name="connsiteY23" fmla="*/ 6525200 h 6527318"/>
              <a:gd name="connsiteX24" fmla="*/ 1301581 w 5391951"/>
              <a:gd name="connsiteY24" fmla="*/ 6519332 h 6527318"/>
              <a:gd name="connsiteX25" fmla="*/ 1615169 w 5391951"/>
              <a:gd name="connsiteY25" fmla="*/ 5378690 h 6527318"/>
              <a:gd name="connsiteX26" fmla="*/ 1513221 w 5391951"/>
              <a:gd name="connsiteY26" fmla="*/ 5353163 h 6527318"/>
              <a:gd name="connsiteX27" fmla="*/ 1327391 w 5391951"/>
              <a:gd name="connsiteY27" fmla="*/ 5815331 h 6527318"/>
              <a:gd name="connsiteX28" fmla="*/ 869270 w 5391951"/>
              <a:gd name="connsiteY28" fmla="*/ 5971179 h 6527318"/>
              <a:gd name="connsiteX29" fmla="*/ 461477 w 5391951"/>
              <a:gd name="connsiteY29" fmla="*/ 5427056 h 6527318"/>
              <a:gd name="connsiteX30" fmla="*/ 431796 w 5391951"/>
              <a:gd name="connsiteY30" fmla="*/ 4650506 h 6527318"/>
              <a:gd name="connsiteX31" fmla="*/ 136276 w 5391951"/>
              <a:gd name="connsiteY31" fmla="*/ 4813071 h 6527318"/>
              <a:gd name="connsiteX32" fmla="*/ 16261 w 5391951"/>
              <a:gd name="connsiteY32" fmla="*/ 4317315 h 6527318"/>
              <a:gd name="connsiteX33" fmla="*/ 100142 w 5391951"/>
              <a:gd name="connsiteY33" fmla="*/ 3558231 h 6527318"/>
              <a:gd name="connsiteX34" fmla="*/ 1554516 w 5391951"/>
              <a:gd name="connsiteY34" fmla="*/ 473527 h 6527318"/>
              <a:gd name="connsiteX35" fmla="*/ 1803579 w 5391951"/>
              <a:gd name="connsiteY35" fmla="*/ 183328 h 6527318"/>
              <a:gd name="connsiteX36" fmla="*/ 2395911 w 5391951"/>
              <a:gd name="connsiteY36" fmla="*/ 309618 h 6527318"/>
              <a:gd name="connsiteX37" fmla="*/ 2503021 w 5391951"/>
              <a:gd name="connsiteY37" fmla="*/ 497710 h 6527318"/>
              <a:gd name="connsiteX38" fmla="*/ 2584321 w 5391951"/>
              <a:gd name="connsiteY38" fmla="*/ 359328 h 6527318"/>
              <a:gd name="connsiteX39" fmla="*/ 3015155 w 5391951"/>
              <a:gd name="connsiteY39" fmla="*/ 1005 h 6527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91951" h="6527318">
                <a:moveTo>
                  <a:pt x="3015155" y="1005"/>
                </a:moveTo>
                <a:cubicBezTo>
                  <a:pt x="3066367" y="6011"/>
                  <a:pt x="3120839" y="30084"/>
                  <a:pt x="3177943" y="81221"/>
                </a:cubicBezTo>
                <a:cubicBezTo>
                  <a:pt x="3482497" y="353954"/>
                  <a:pt x="3287634" y="830901"/>
                  <a:pt x="3343125" y="836275"/>
                </a:cubicBezTo>
                <a:cubicBezTo>
                  <a:pt x="3398615" y="842993"/>
                  <a:pt x="3710912" y="853741"/>
                  <a:pt x="3667035" y="1444886"/>
                </a:cubicBezTo>
                <a:cubicBezTo>
                  <a:pt x="3621869" y="2036031"/>
                  <a:pt x="3699298" y="1583268"/>
                  <a:pt x="3699298" y="1583268"/>
                </a:cubicBezTo>
                <a:cubicBezTo>
                  <a:pt x="3699298" y="1583268"/>
                  <a:pt x="4403901" y="157801"/>
                  <a:pt x="4805241" y="617283"/>
                </a:cubicBezTo>
                <a:cubicBezTo>
                  <a:pt x="5205291" y="1078107"/>
                  <a:pt x="5000104" y="1491909"/>
                  <a:pt x="4805241" y="1908398"/>
                </a:cubicBezTo>
                <a:cubicBezTo>
                  <a:pt x="4792337" y="1936612"/>
                  <a:pt x="4771689" y="1980948"/>
                  <a:pt x="4745879" y="2040062"/>
                </a:cubicBezTo>
                <a:cubicBezTo>
                  <a:pt x="4823308" y="1960795"/>
                  <a:pt x="4923965" y="1898993"/>
                  <a:pt x="5025913" y="1974230"/>
                </a:cubicBezTo>
                <a:cubicBezTo>
                  <a:pt x="5216905" y="2113955"/>
                  <a:pt x="5056885" y="2429681"/>
                  <a:pt x="5094309" y="2428337"/>
                </a:cubicBezTo>
                <a:cubicBezTo>
                  <a:pt x="5131733" y="2425650"/>
                  <a:pt x="5342082" y="2401467"/>
                  <a:pt x="5278848" y="2773620"/>
                </a:cubicBezTo>
                <a:cubicBezTo>
                  <a:pt x="5240133" y="2999330"/>
                  <a:pt x="4616831" y="4051300"/>
                  <a:pt x="4685226" y="3955910"/>
                </a:cubicBezTo>
                <a:cubicBezTo>
                  <a:pt x="5067209" y="3421193"/>
                  <a:pt x="5029785" y="3356704"/>
                  <a:pt x="5247877" y="3485681"/>
                </a:cubicBezTo>
                <a:cubicBezTo>
                  <a:pt x="5402735" y="3577040"/>
                  <a:pt x="5508554" y="3706017"/>
                  <a:pt x="5153671" y="4346873"/>
                </a:cubicBezTo>
                <a:cubicBezTo>
                  <a:pt x="4998813" y="4626323"/>
                  <a:pt x="4298081" y="5856980"/>
                  <a:pt x="4298081" y="5856980"/>
                </a:cubicBezTo>
                <a:cubicBezTo>
                  <a:pt x="4298081" y="5856980"/>
                  <a:pt x="4263239" y="5937591"/>
                  <a:pt x="4160000" y="6004767"/>
                </a:cubicBezTo>
                <a:cubicBezTo>
                  <a:pt x="4160000" y="6004767"/>
                  <a:pt x="4042566" y="6090752"/>
                  <a:pt x="3846413" y="6046416"/>
                </a:cubicBezTo>
                <a:cubicBezTo>
                  <a:pt x="3669617" y="6006110"/>
                  <a:pt x="3661874" y="5959087"/>
                  <a:pt x="3670907" y="5785774"/>
                </a:cubicBezTo>
                <a:cubicBezTo>
                  <a:pt x="3679941" y="5612461"/>
                  <a:pt x="3763822" y="5431087"/>
                  <a:pt x="3783179" y="5389438"/>
                </a:cubicBezTo>
                <a:cubicBezTo>
                  <a:pt x="3805117" y="5338385"/>
                  <a:pt x="3787051" y="5292705"/>
                  <a:pt x="3732850" y="5417652"/>
                </a:cubicBezTo>
                <a:cubicBezTo>
                  <a:pt x="3687683" y="5521102"/>
                  <a:pt x="3771702" y="5372989"/>
                  <a:pt x="3679941" y="5553347"/>
                </a:cubicBezTo>
                <a:cubicBezTo>
                  <a:pt x="3588180" y="5733705"/>
                  <a:pt x="3313490" y="6359687"/>
                  <a:pt x="3182285" y="6499800"/>
                </a:cubicBezTo>
                <a:cubicBezTo>
                  <a:pt x="3155479" y="6528426"/>
                  <a:pt x="3131451" y="6520967"/>
                  <a:pt x="3061902" y="6525200"/>
                </a:cubicBezTo>
                <a:cubicBezTo>
                  <a:pt x="2992353" y="6529433"/>
                  <a:pt x="3058375" y="6526178"/>
                  <a:pt x="2764988" y="6525200"/>
                </a:cubicBezTo>
                <a:lnTo>
                  <a:pt x="1301581" y="6519332"/>
                </a:lnTo>
                <a:cubicBezTo>
                  <a:pt x="1487411" y="6132400"/>
                  <a:pt x="1647431" y="5435118"/>
                  <a:pt x="1615169" y="5378690"/>
                </a:cubicBezTo>
                <a:cubicBezTo>
                  <a:pt x="1581616" y="5318232"/>
                  <a:pt x="1580326" y="5152980"/>
                  <a:pt x="1513221" y="5353163"/>
                </a:cubicBezTo>
                <a:cubicBezTo>
                  <a:pt x="1435792" y="5578873"/>
                  <a:pt x="1327391" y="5815331"/>
                  <a:pt x="1327391" y="5815331"/>
                </a:cubicBezTo>
                <a:cubicBezTo>
                  <a:pt x="1327391" y="5815331"/>
                  <a:pt x="1280934" y="6067912"/>
                  <a:pt x="869270" y="5971179"/>
                </a:cubicBezTo>
                <a:cubicBezTo>
                  <a:pt x="275648" y="5830110"/>
                  <a:pt x="439539" y="5613805"/>
                  <a:pt x="461477" y="5427056"/>
                </a:cubicBezTo>
                <a:cubicBezTo>
                  <a:pt x="491159" y="5186568"/>
                  <a:pt x="553102" y="4708277"/>
                  <a:pt x="431796" y="4650506"/>
                </a:cubicBezTo>
                <a:cubicBezTo>
                  <a:pt x="365982" y="4619606"/>
                  <a:pt x="227900" y="4924583"/>
                  <a:pt x="136276" y="4813071"/>
                </a:cubicBezTo>
                <a:cubicBezTo>
                  <a:pt x="136276" y="4813071"/>
                  <a:pt x="66590" y="4805010"/>
                  <a:pt x="16261" y="4317315"/>
                </a:cubicBezTo>
                <a:cubicBezTo>
                  <a:pt x="-34068" y="3828277"/>
                  <a:pt x="43361" y="3743635"/>
                  <a:pt x="100142" y="3558231"/>
                </a:cubicBezTo>
                <a:cubicBezTo>
                  <a:pt x="156924" y="3372826"/>
                  <a:pt x="1554516" y="473527"/>
                  <a:pt x="1554516" y="473527"/>
                </a:cubicBezTo>
                <a:cubicBezTo>
                  <a:pt x="1554516" y="473527"/>
                  <a:pt x="1638397" y="296183"/>
                  <a:pt x="1803579" y="183328"/>
                </a:cubicBezTo>
                <a:cubicBezTo>
                  <a:pt x="1968761" y="70473"/>
                  <a:pt x="2105552" y="11358"/>
                  <a:pt x="2395911" y="309618"/>
                </a:cubicBezTo>
                <a:cubicBezTo>
                  <a:pt x="2395911" y="309618"/>
                  <a:pt x="2486244" y="394260"/>
                  <a:pt x="2503021" y="497710"/>
                </a:cubicBezTo>
                <a:cubicBezTo>
                  <a:pt x="2503021" y="497710"/>
                  <a:pt x="2526249" y="413069"/>
                  <a:pt x="2584321" y="359328"/>
                </a:cubicBezTo>
                <a:cubicBezTo>
                  <a:pt x="2632553" y="315664"/>
                  <a:pt x="2793238" y="-20686"/>
                  <a:pt x="3015155" y="1005"/>
                </a:cubicBezTo>
                <a:close/>
              </a:path>
            </a:pathLst>
          </a:custGeom>
        </p:spPr>
        <p:txBody>
          <a:bodyPr wrap="square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Picture </a:t>
            </a:r>
          </a:p>
        </p:txBody>
      </p:sp>
    </p:spTree>
    <p:extLst>
      <p:ext uri="{BB962C8B-B14F-4D97-AF65-F5344CB8AC3E}">
        <p14:creationId xmlns:p14="http://schemas.microsoft.com/office/powerpoint/2010/main" val="40814735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50464" y="1828800"/>
            <a:ext cx="3582006" cy="3561334"/>
          </a:xfrm>
          <a:prstGeom prst="rect">
            <a:avLst/>
          </a:prstGeo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US" dirty="0"/>
              <a:t>Picture 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304997" y="1828800"/>
            <a:ext cx="3582006" cy="3561334"/>
          </a:xfrm>
          <a:prstGeom prst="rect">
            <a:avLst/>
          </a:prstGeo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US" dirty="0"/>
              <a:t>Picture 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7977390" y="1828800"/>
            <a:ext cx="3582006" cy="3561334"/>
          </a:xfrm>
          <a:prstGeom prst="rect">
            <a:avLst/>
          </a:prstGeo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US" dirty="0"/>
              <a:t>Picture 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5823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344233" y="288963"/>
            <a:ext cx="6376889" cy="6281430"/>
          </a:xfrm>
          <a:custGeom>
            <a:avLst/>
            <a:gdLst>
              <a:gd name="connsiteX0" fmla="*/ 3905331 w 6376889"/>
              <a:gd name="connsiteY0" fmla="*/ 1 h 6281430"/>
              <a:gd name="connsiteX1" fmla="*/ 4905161 w 6376889"/>
              <a:gd name="connsiteY1" fmla="*/ 19262 h 6281430"/>
              <a:gd name="connsiteX2" fmla="*/ 5021568 w 6376889"/>
              <a:gd name="connsiteY2" fmla="*/ 27509 h 6281430"/>
              <a:gd name="connsiteX3" fmla="*/ 5009526 w 6376889"/>
              <a:gd name="connsiteY3" fmla="*/ 145715 h 6281430"/>
              <a:gd name="connsiteX4" fmla="*/ 5127271 w 6376889"/>
              <a:gd name="connsiteY4" fmla="*/ 155337 h 6281430"/>
              <a:gd name="connsiteX5" fmla="*/ 5032272 w 6376889"/>
              <a:gd name="connsiteY5" fmla="*/ 389000 h 6281430"/>
              <a:gd name="connsiteX6" fmla="*/ 4764670 w 6376889"/>
              <a:gd name="connsiteY6" fmla="*/ 706507 h 6281430"/>
              <a:gd name="connsiteX7" fmla="*/ 6363595 w 6376889"/>
              <a:gd name="connsiteY7" fmla="*/ 882441 h 6281430"/>
              <a:gd name="connsiteX8" fmla="*/ 6077260 w 6376889"/>
              <a:gd name="connsiteY8" fmla="*/ 1217816 h 6281430"/>
              <a:gd name="connsiteX9" fmla="*/ 6053176 w 6376889"/>
              <a:gd name="connsiteY9" fmla="*/ 1345644 h 6281430"/>
              <a:gd name="connsiteX10" fmla="*/ 5873883 w 6376889"/>
              <a:gd name="connsiteY10" fmla="*/ 1670023 h 6281430"/>
              <a:gd name="connsiteX11" fmla="*/ 5515295 w 6376889"/>
              <a:gd name="connsiteY11" fmla="*/ 1971036 h 6281430"/>
              <a:gd name="connsiteX12" fmla="*/ 5426986 w 6376889"/>
              <a:gd name="connsiteY12" fmla="*/ 2168962 h 6281430"/>
              <a:gd name="connsiteX13" fmla="*/ 5425648 w 6376889"/>
              <a:gd name="connsiteY13" fmla="*/ 2168962 h 6281430"/>
              <a:gd name="connsiteX14" fmla="*/ 3128280 w 6376889"/>
              <a:gd name="connsiteY14" fmla="*/ 2641786 h 6281430"/>
              <a:gd name="connsiteX15" fmla="*/ 5444380 w 6376889"/>
              <a:gd name="connsiteY15" fmla="*/ 2228065 h 6281430"/>
              <a:gd name="connsiteX16" fmla="*/ 5756137 w 6376889"/>
              <a:gd name="connsiteY16" fmla="*/ 2241810 h 6281430"/>
              <a:gd name="connsiteX17" fmla="*/ 5758813 w 6376889"/>
              <a:gd name="connsiteY17" fmla="*/ 2241810 h 6281430"/>
              <a:gd name="connsiteX18" fmla="*/ 6061204 w 6376889"/>
              <a:gd name="connsiteY18" fmla="*/ 2218443 h 6281430"/>
              <a:gd name="connsiteX19" fmla="*/ 6067894 w 6376889"/>
              <a:gd name="connsiteY19" fmla="*/ 2265176 h 6281430"/>
              <a:gd name="connsiteX20" fmla="*/ 6363595 w 6376889"/>
              <a:gd name="connsiteY20" fmla="*/ 2328403 h 6281430"/>
              <a:gd name="connsiteX21" fmla="*/ 6077260 w 6376889"/>
              <a:gd name="connsiteY21" fmla="*/ 2663778 h 6281430"/>
              <a:gd name="connsiteX22" fmla="*/ 6053176 w 6376889"/>
              <a:gd name="connsiteY22" fmla="*/ 2791605 h 6281430"/>
              <a:gd name="connsiteX23" fmla="*/ 5873883 w 6376889"/>
              <a:gd name="connsiteY23" fmla="*/ 3115984 h 6281430"/>
              <a:gd name="connsiteX24" fmla="*/ 5515295 w 6376889"/>
              <a:gd name="connsiteY24" fmla="*/ 3416997 h 6281430"/>
              <a:gd name="connsiteX25" fmla="*/ 5413606 w 6376889"/>
              <a:gd name="connsiteY25" fmla="*/ 3665779 h 6281430"/>
              <a:gd name="connsiteX26" fmla="*/ 5378818 w 6376889"/>
              <a:gd name="connsiteY26" fmla="*/ 3669903 h 6281430"/>
              <a:gd name="connsiteX27" fmla="*/ 5117905 w 6376889"/>
              <a:gd name="connsiteY27" fmla="*/ 3726257 h 6281430"/>
              <a:gd name="connsiteX28" fmla="*/ 4870373 w 6376889"/>
              <a:gd name="connsiteY28" fmla="*/ 3785360 h 6281430"/>
              <a:gd name="connsiteX29" fmla="*/ 4181296 w 6376889"/>
              <a:gd name="connsiteY29" fmla="*/ 3986035 h 6281430"/>
              <a:gd name="connsiteX30" fmla="*/ 5758813 w 6376889"/>
              <a:gd name="connsiteY30" fmla="*/ 3687771 h 6281430"/>
              <a:gd name="connsiteX31" fmla="*/ 6061204 w 6376889"/>
              <a:gd name="connsiteY31" fmla="*/ 3664405 h 6281430"/>
              <a:gd name="connsiteX32" fmla="*/ 5558112 w 6376889"/>
              <a:gd name="connsiteY32" fmla="*/ 4252686 h 6281430"/>
              <a:gd name="connsiteX33" fmla="*/ 5469803 w 6376889"/>
              <a:gd name="connsiteY33" fmla="*/ 4541328 h 6281430"/>
              <a:gd name="connsiteX34" fmla="*/ 4870373 w 6376889"/>
              <a:gd name="connsiteY34" fmla="*/ 5231321 h 6281430"/>
              <a:gd name="connsiteX35" fmla="*/ 1182810 w 6376889"/>
              <a:gd name="connsiteY35" fmla="*/ 6281430 h 6281430"/>
              <a:gd name="connsiteX36" fmla="*/ 1524003 w 6376889"/>
              <a:gd name="connsiteY36" fmla="*/ 5535083 h 6281430"/>
              <a:gd name="connsiteX37" fmla="*/ 3510952 w 6376889"/>
              <a:gd name="connsiteY37" fmla="*/ 5114490 h 6281430"/>
              <a:gd name="connsiteX38" fmla="*/ 1503933 w 6376889"/>
              <a:gd name="connsiteY38" fmla="*/ 5497972 h 6281430"/>
              <a:gd name="connsiteX39" fmla="*/ 1482524 w 6376889"/>
              <a:gd name="connsiteY39" fmla="*/ 5502096 h 6281430"/>
              <a:gd name="connsiteX40" fmla="*/ 309087 w 6376889"/>
              <a:gd name="connsiteY40" fmla="*/ 5585939 h 6281430"/>
              <a:gd name="connsiteX41" fmla="*/ 259581 w 6376889"/>
              <a:gd name="connsiteY41" fmla="*/ 5506219 h 6281430"/>
              <a:gd name="connsiteX42" fmla="*/ 301059 w 6376889"/>
              <a:gd name="connsiteY42" fmla="*/ 5174967 h 6281430"/>
              <a:gd name="connsiteX43" fmla="*/ 313101 w 6376889"/>
              <a:gd name="connsiteY43" fmla="*/ 4939930 h 6281430"/>
              <a:gd name="connsiteX44" fmla="*/ 572676 w 6376889"/>
              <a:gd name="connsiteY44" fmla="*/ 4659534 h 6281430"/>
              <a:gd name="connsiteX45" fmla="*/ 552605 w 6376889"/>
              <a:gd name="connsiteY45" fmla="*/ 4567444 h 6281430"/>
              <a:gd name="connsiteX46" fmla="*/ 306411 w 6376889"/>
              <a:gd name="connsiteY46" fmla="*/ 4357147 h 6281430"/>
              <a:gd name="connsiteX47" fmla="*/ 392044 w 6376889"/>
              <a:gd name="connsiteY47" fmla="*/ 4157846 h 6281430"/>
              <a:gd name="connsiteX48" fmla="*/ 309087 w 6376889"/>
              <a:gd name="connsiteY48" fmla="*/ 4139978 h 6281430"/>
              <a:gd name="connsiteX49" fmla="*/ 289017 w 6376889"/>
              <a:gd name="connsiteY49" fmla="*/ 4134480 h 6281430"/>
              <a:gd name="connsiteX50" fmla="*/ 212750 w 6376889"/>
              <a:gd name="connsiteY50" fmla="*/ 4108364 h 6281430"/>
              <a:gd name="connsiteX51" fmla="*/ 6 w 6376889"/>
              <a:gd name="connsiteY51" fmla="*/ 3761993 h 6281430"/>
              <a:gd name="connsiteX52" fmla="*/ 264933 w 6376889"/>
              <a:gd name="connsiteY52" fmla="*/ 3117359 h 6281430"/>
              <a:gd name="connsiteX53" fmla="*/ 363946 w 6376889"/>
              <a:gd name="connsiteY53" fmla="*/ 2984033 h 6281430"/>
              <a:gd name="connsiteX54" fmla="*/ 362608 w 6376889"/>
              <a:gd name="connsiteY54" fmla="*/ 2982659 h 6281430"/>
              <a:gd name="connsiteX55" fmla="*/ 1204218 w 6376889"/>
              <a:gd name="connsiteY55" fmla="*/ 2780609 h 6281430"/>
              <a:gd name="connsiteX56" fmla="*/ 306411 w 6376889"/>
              <a:gd name="connsiteY56" fmla="*/ 2916683 h 6281430"/>
              <a:gd name="connsiteX57" fmla="*/ 306411 w 6376889"/>
              <a:gd name="connsiteY57" fmla="*/ 2911185 h 6281430"/>
              <a:gd name="connsiteX58" fmla="*/ 334509 w 6376889"/>
              <a:gd name="connsiteY58" fmla="*/ 2768239 h 6281430"/>
              <a:gd name="connsiteX59" fmla="*/ 1692592 w 6376889"/>
              <a:gd name="connsiteY59" fmla="*/ 2508460 h 6281430"/>
              <a:gd name="connsiteX60" fmla="*/ 331833 w 6376889"/>
              <a:gd name="connsiteY60" fmla="*/ 2694016 h 6281430"/>
              <a:gd name="connsiteX61" fmla="*/ 212750 w 6376889"/>
              <a:gd name="connsiteY61" fmla="*/ 2662403 h 6281430"/>
              <a:gd name="connsiteX62" fmla="*/ 6 w 6376889"/>
              <a:gd name="connsiteY62" fmla="*/ 2316032 h 6281430"/>
              <a:gd name="connsiteX63" fmla="*/ 264933 w 6376889"/>
              <a:gd name="connsiteY63" fmla="*/ 1671397 h 6281430"/>
              <a:gd name="connsiteX64" fmla="*/ 746617 w 6376889"/>
              <a:gd name="connsiteY64" fmla="*/ 1363512 h 6281430"/>
              <a:gd name="connsiteX65" fmla="*/ 689083 w 6376889"/>
              <a:gd name="connsiteY65" fmla="*/ 1084491 h 6281430"/>
              <a:gd name="connsiteX66" fmla="*/ 833588 w 6376889"/>
              <a:gd name="connsiteY66" fmla="*/ 879692 h 6281430"/>
              <a:gd name="connsiteX67" fmla="*/ 2872720 w 6376889"/>
              <a:gd name="connsiteY67" fmla="*/ 507206 h 6281430"/>
              <a:gd name="connsiteX68" fmla="*/ 1469144 w 6376889"/>
              <a:gd name="connsiteY68" fmla="*/ 706507 h 6281430"/>
              <a:gd name="connsiteX69" fmla="*/ 1493229 w 6376889"/>
              <a:gd name="connsiteY69" fmla="*/ 613041 h 6281430"/>
              <a:gd name="connsiteX70" fmla="*/ 1771535 w 6376889"/>
              <a:gd name="connsiteY70" fmla="*/ 283164 h 6281430"/>
              <a:gd name="connsiteX71" fmla="*/ 3862849 w 6376889"/>
              <a:gd name="connsiteY71" fmla="*/ 20 h 6281430"/>
              <a:gd name="connsiteX72" fmla="*/ 3905331 w 6376889"/>
              <a:gd name="connsiteY72" fmla="*/ 1 h 6281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6376889" h="6281430">
                <a:moveTo>
                  <a:pt x="3905331" y="1"/>
                </a:moveTo>
                <a:cubicBezTo>
                  <a:pt x="4094848" y="20"/>
                  <a:pt x="4855989" y="1222"/>
                  <a:pt x="4905161" y="19262"/>
                </a:cubicBezTo>
                <a:cubicBezTo>
                  <a:pt x="4961358" y="39880"/>
                  <a:pt x="5000160" y="4143"/>
                  <a:pt x="5021568" y="27509"/>
                </a:cubicBezTo>
                <a:cubicBezTo>
                  <a:pt x="5044315" y="52250"/>
                  <a:pt x="4974738" y="131970"/>
                  <a:pt x="5009526" y="145715"/>
                </a:cubicBezTo>
                <a:cubicBezTo>
                  <a:pt x="5044315" y="159460"/>
                  <a:pt x="5111215" y="119600"/>
                  <a:pt x="5127271" y="155337"/>
                </a:cubicBezTo>
                <a:cubicBezTo>
                  <a:pt x="5143328" y="192448"/>
                  <a:pt x="5068399" y="376629"/>
                  <a:pt x="5032272" y="389000"/>
                </a:cubicBezTo>
                <a:cubicBezTo>
                  <a:pt x="4996146" y="401370"/>
                  <a:pt x="4779388" y="606169"/>
                  <a:pt x="4764670" y="706507"/>
                </a:cubicBezTo>
                <a:cubicBezTo>
                  <a:pt x="4751290" y="806844"/>
                  <a:pt x="6112049" y="750490"/>
                  <a:pt x="6363595" y="882441"/>
                </a:cubicBezTo>
                <a:cubicBezTo>
                  <a:pt x="6363595" y="882441"/>
                  <a:pt x="6470636" y="909931"/>
                  <a:pt x="6077260" y="1217816"/>
                </a:cubicBezTo>
                <a:cubicBezTo>
                  <a:pt x="6077260" y="1217816"/>
                  <a:pt x="5995642" y="1272796"/>
                  <a:pt x="6053176" y="1345644"/>
                </a:cubicBezTo>
                <a:cubicBezTo>
                  <a:pt x="6053176" y="1345644"/>
                  <a:pt x="6053176" y="1591677"/>
                  <a:pt x="5873883" y="1670023"/>
                </a:cubicBezTo>
                <a:cubicBezTo>
                  <a:pt x="5694589" y="1748369"/>
                  <a:pt x="5595576" y="1803348"/>
                  <a:pt x="5515295" y="1971036"/>
                </a:cubicBezTo>
                <a:cubicBezTo>
                  <a:pt x="5481845" y="2041134"/>
                  <a:pt x="5445718" y="2111233"/>
                  <a:pt x="5426986" y="2168962"/>
                </a:cubicBezTo>
                <a:cubicBezTo>
                  <a:pt x="5425648" y="2168962"/>
                  <a:pt x="5425648" y="2168962"/>
                  <a:pt x="5425648" y="2168962"/>
                </a:cubicBezTo>
                <a:cubicBezTo>
                  <a:pt x="5331987" y="2188205"/>
                  <a:pt x="3116238" y="2610172"/>
                  <a:pt x="3128280" y="2641786"/>
                </a:cubicBezTo>
                <a:cubicBezTo>
                  <a:pt x="3134970" y="2662403"/>
                  <a:pt x="4570658" y="2393004"/>
                  <a:pt x="5444380" y="2228065"/>
                </a:cubicBezTo>
                <a:cubicBezTo>
                  <a:pt x="5547407" y="2232188"/>
                  <a:pt x="5654448" y="2236312"/>
                  <a:pt x="5756137" y="2241810"/>
                </a:cubicBezTo>
                <a:cubicBezTo>
                  <a:pt x="5757475" y="2241810"/>
                  <a:pt x="5757475" y="2241810"/>
                  <a:pt x="5758813" y="2241810"/>
                </a:cubicBezTo>
                <a:cubicBezTo>
                  <a:pt x="5907333" y="2211571"/>
                  <a:pt x="6053176" y="2186830"/>
                  <a:pt x="6061204" y="2218443"/>
                </a:cubicBezTo>
                <a:cubicBezTo>
                  <a:pt x="6063880" y="2230814"/>
                  <a:pt x="6066556" y="2245933"/>
                  <a:pt x="6067894" y="2265176"/>
                </a:cubicBezTo>
                <a:cubicBezTo>
                  <a:pt x="6201696" y="2280295"/>
                  <a:pt x="6308737" y="2299538"/>
                  <a:pt x="6363595" y="2328403"/>
                </a:cubicBezTo>
                <a:cubicBezTo>
                  <a:pt x="6363595" y="2328403"/>
                  <a:pt x="6470636" y="2355892"/>
                  <a:pt x="6077260" y="2663778"/>
                </a:cubicBezTo>
                <a:cubicBezTo>
                  <a:pt x="6077260" y="2663778"/>
                  <a:pt x="5995642" y="2718757"/>
                  <a:pt x="6053176" y="2791605"/>
                </a:cubicBezTo>
                <a:cubicBezTo>
                  <a:pt x="6053176" y="2791605"/>
                  <a:pt x="6053176" y="3037638"/>
                  <a:pt x="5873883" y="3115984"/>
                </a:cubicBezTo>
                <a:cubicBezTo>
                  <a:pt x="5694589" y="3194330"/>
                  <a:pt x="5595576" y="3249309"/>
                  <a:pt x="5515295" y="3416997"/>
                </a:cubicBezTo>
                <a:cubicBezTo>
                  <a:pt x="5471141" y="3509088"/>
                  <a:pt x="5421634" y="3603927"/>
                  <a:pt x="5413606" y="3665779"/>
                </a:cubicBezTo>
                <a:cubicBezTo>
                  <a:pt x="5398888" y="3667154"/>
                  <a:pt x="5386846" y="3668528"/>
                  <a:pt x="5378818" y="3669903"/>
                </a:cubicBezTo>
                <a:cubicBezTo>
                  <a:pt x="5364100" y="3671277"/>
                  <a:pt x="5266425" y="3693269"/>
                  <a:pt x="5117905" y="3726257"/>
                </a:cubicBezTo>
                <a:cubicBezTo>
                  <a:pt x="5049667" y="3749623"/>
                  <a:pt x="4969386" y="3768866"/>
                  <a:pt x="4870373" y="3785360"/>
                </a:cubicBezTo>
                <a:cubicBezTo>
                  <a:pt x="4696431" y="3814224"/>
                  <a:pt x="4468969" y="3887072"/>
                  <a:pt x="4181296" y="3986035"/>
                </a:cubicBezTo>
                <a:cubicBezTo>
                  <a:pt x="4856993" y="3863706"/>
                  <a:pt x="5611632" y="3723508"/>
                  <a:pt x="5758813" y="3687771"/>
                </a:cubicBezTo>
                <a:cubicBezTo>
                  <a:pt x="5907333" y="3657532"/>
                  <a:pt x="6053176" y="3631417"/>
                  <a:pt x="6061204" y="3664405"/>
                </a:cubicBezTo>
                <a:cubicBezTo>
                  <a:pt x="6085289" y="3763368"/>
                  <a:pt x="6069232" y="4115237"/>
                  <a:pt x="5558112" y="4252686"/>
                </a:cubicBezTo>
                <a:cubicBezTo>
                  <a:pt x="5558112" y="4252686"/>
                  <a:pt x="5496563" y="4244439"/>
                  <a:pt x="5469803" y="4541328"/>
                </a:cubicBezTo>
                <a:cubicBezTo>
                  <a:pt x="5435014" y="4930308"/>
                  <a:pt x="5437690" y="5137856"/>
                  <a:pt x="4870373" y="5231321"/>
                </a:cubicBezTo>
                <a:cubicBezTo>
                  <a:pt x="4293689" y="5326161"/>
                  <a:pt x="3114900" y="5913067"/>
                  <a:pt x="1182810" y="6281430"/>
                </a:cubicBezTo>
                <a:cubicBezTo>
                  <a:pt x="1182810" y="6281430"/>
                  <a:pt x="1006192" y="5831973"/>
                  <a:pt x="1524003" y="5535083"/>
                </a:cubicBezTo>
                <a:cubicBezTo>
                  <a:pt x="2361599" y="5364647"/>
                  <a:pt x="3510952" y="5129609"/>
                  <a:pt x="3510952" y="5114490"/>
                </a:cubicBezTo>
                <a:cubicBezTo>
                  <a:pt x="3510952" y="5088375"/>
                  <a:pt x="1576185" y="5486976"/>
                  <a:pt x="1503933" y="5497972"/>
                </a:cubicBezTo>
                <a:cubicBezTo>
                  <a:pt x="1499918" y="5497972"/>
                  <a:pt x="1491890" y="5499347"/>
                  <a:pt x="1482524" y="5502096"/>
                </a:cubicBezTo>
                <a:cubicBezTo>
                  <a:pt x="1259076" y="5539207"/>
                  <a:pt x="662322" y="5682153"/>
                  <a:pt x="309087" y="5585939"/>
                </a:cubicBezTo>
                <a:cubicBezTo>
                  <a:pt x="309087" y="5585939"/>
                  <a:pt x="238172" y="5583190"/>
                  <a:pt x="259581" y="5506219"/>
                </a:cubicBezTo>
                <a:cubicBezTo>
                  <a:pt x="280989" y="5429248"/>
                  <a:pt x="339861" y="5295922"/>
                  <a:pt x="301059" y="5174967"/>
                </a:cubicBezTo>
                <a:cubicBezTo>
                  <a:pt x="263595" y="5052638"/>
                  <a:pt x="228806" y="5052638"/>
                  <a:pt x="313101" y="4939930"/>
                </a:cubicBezTo>
                <a:cubicBezTo>
                  <a:pt x="397396" y="4827222"/>
                  <a:pt x="452255" y="4674654"/>
                  <a:pt x="572676" y="4659534"/>
                </a:cubicBezTo>
                <a:cubicBezTo>
                  <a:pt x="572676" y="4659534"/>
                  <a:pt x="598098" y="4619674"/>
                  <a:pt x="552605" y="4567444"/>
                </a:cubicBezTo>
                <a:cubicBezTo>
                  <a:pt x="507113" y="4513839"/>
                  <a:pt x="306411" y="4416250"/>
                  <a:pt x="306411" y="4357147"/>
                </a:cubicBezTo>
                <a:cubicBezTo>
                  <a:pt x="306411" y="4166093"/>
                  <a:pt x="393382" y="4178463"/>
                  <a:pt x="392044" y="4157846"/>
                </a:cubicBezTo>
                <a:cubicBezTo>
                  <a:pt x="363946" y="4152348"/>
                  <a:pt x="335847" y="4146850"/>
                  <a:pt x="309087" y="4139978"/>
                </a:cubicBezTo>
                <a:cubicBezTo>
                  <a:pt x="309087" y="4139978"/>
                  <a:pt x="299721" y="4139978"/>
                  <a:pt x="289017" y="4134480"/>
                </a:cubicBezTo>
                <a:cubicBezTo>
                  <a:pt x="252891" y="4130356"/>
                  <a:pt x="219440" y="4122109"/>
                  <a:pt x="212750" y="4108364"/>
                </a:cubicBezTo>
                <a:cubicBezTo>
                  <a:pt x="196694" y="4074002"/>
                  <a:pt x="1344" y="3822471"/>
                  <a:pt x="6" y="3761993"/>
                </a:cubicBezTo>
                <a:cubicBezTo>
                  <a:pt x="-1332" y="3701516"/>
                  <a:pt x="254229" y="3595680"/>
                  <a:pt x="264933" y="3117359"/>
                </a:cubicBezTo>
                <a:cubicBezTo>
                  <a:pt x="264933" y="3117359"/>
                  <a:pt x="242186" y="3067877"/>
                  <a:pt x="363946" y="2984033"/>
                </a:cubicBezTo>
                <a:cubicBezTo>
                  <a:pt x="363946" y="2984033"/>
                  <a:pt x="363946" y="2982659"/>
                  <a:pt x="362608" y="2982659"/>
                </a:cubicBezTo>
                <a:cubicBezTo>
                  <a:pt x="773378" y="2893317"/>
                  <a:pt x="1202880" y="2797103"/>
                  <a:pt x="1204218" y="2780609"/>
                </a:cubicBezTo>
                <a:cubicBezTo>
                  <a:pt x="1208232" y="2754494"/>
                  <a:pt x="561972" y="2869951"/>
                  <a:pt x="306411" y="2916683"/>
                </a:cubicBezTo>
                <a:cubicBezTo>
                  <a:pt x="306411" y="2915309"/>
                  <a:pt x="306411" y="2912560"/>
                  <a:pt x="306411" y="2911185"/>
                </a:cubicBezTo>
                <a:cubicBezTo>
                  <a:pt x="306411" y="2836963"/>
                  <a:pt x="319791" y="2794354"/>
                  <a:pt x="334509" y="2768239"/>
                </a:cubicBezTo>
                <a:cubicBezTo>
                  <a:pt x="1032952" y="2643160"/>
                  <a:pt x="1692592" y="2523580"/>
                  <a:pt x="1692592" y="2508460"/>
                </a:cubicBezTo>
                <a:cubicBezTo>
                  <a:pt x="1692592" y="2486469"/>
                  <a:pt x="892461" y="2607424"/>
                  <a:pt x="331833" y="2694016"/>
                </a:cubicBezTo>
                <a:cubicBezTo>
                  <a:pt x="283665" y="2688518"/>
                  <a:pt x="222116" y="2683020"/>
                  <a:pt x="212750" y="2662403"/>
                </a:cubicBezTo>
                <a:cubicBezTo>
                  <a:pt x="196694" y="2628041"/>
                  <a:pt x="1344" y="2376509"/>
                  <a:pt x="6" y="2316032"/>
                </a:cubicBezTo>
                <a:cubicBezTo>
                  <a:pt x="-1332" y="2255555"/>
                  <a:pt x="254229" y="2149719"/>
                  <a:pt x="264933" y="1671397"/>
                </a:cubicBezTo>
                <a:cubicBezTo>
                  <a:pt x="264933" y="1671397"/>
                  <a:pt x="210074" y="1549068"/>
                  <a:pt x="746617" y="1363512"/>
                </a:cubicBezTo>
                <a:cubicBezTo>
                  <a:pt x="746617" y="1363512"/>
                  <a:pt x="877743" y="1318154"/>
                  <a:pt x="689083" y="1084491"/>
                </a:cubicBezTo>
                <a:cubicBezTo>
                  <a:pt x="618168" y="996524"/>
                  <a:pt x="701125" y="930548"/>
                  <a:pt x="833588" y="879692"/>
                </a:cubicBezTo>
                <a:cubicBezTo>
                  <a:pt x="1433018" y="776605"/>
                  <a:pt x="2872720" y="525074"/>
                  <a:pt x="2872720" y="507206"/>
                </a:cubicBezTo>
                <a:cubicBezTo>
                  <a:pt x="2872720" y="483839"/>
                  <a:pt x="1744775" y="662523"/>
                  <a:pt x="1469144" y="706507"/>
                </a:cubicBezTo>
                <a:cubicBezTo>
                  <a:pt x="1478510" y="684515"/>
                  <a:pt x="1486538" y="654276"/>
                  <a:pt x="1493229" y="613041"/>
                </a:cubicBezTo>
                <a:cubicBezTo>
                  <a:pt x="1514637" y="467346"/>
                  <a:pt x="1665832" y="283164"/>
                  <a:pt x="1771535" y="283164"/>
                </a:cubicBezTo>
                <a:cubicBezTo>
                  <a:pt x="1990969" y="283164"/>
                  <a:pt x="3342362" y="20"/>
                  <a:pt x="3862849" y="20"/>
                </a:cubicBezTo>
                <a:cubicBezTo>
                  <a:pt x="3862849" y="20"/>
                  <a:pt x="3878257" y="-2"/>
                  <a:pt x="3905331" y="1"/>
                </a:cubicBezTo>
                <a:close/>
              </a:path>
            </a:pathLst>
          </a:custGeom>
        </p:spPr>
        <p:txBody>
          <a:bodyPr wrap="square" anchor="ctr" anchorCtr="1">
            <a:noAutofit/>
          </a:bodyPr>
          <a:lstStyle>
            <a:lvl1pPr marL="0" indent="0">
              <a:buNone/>
              <a:defRPr baseline="0"/>
            </a:lvl1pPr>
          </a:lstStyle>
          <a:p>
            <a:r>
              <a:rPr lang="en-US" dirty="0"/>
              <a:t>Picture 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6089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  <p:sp>
        <p:nvSpPr>
          <p:cNvPr id="5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2513858" y="1724789"/>
            <a:ext cx="2314575" cy="1737550"/>
          </a:xfr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US" dirty="0"/>
              <a:t>Picture </a:t>
            </a:r>
          </a:p>
        </p:txBody>
      </p:sp>
      <p:sp>
        <p:nvSpPr>
          <p:cNvPr id="6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2505075" y="3588526"/>
            <a:ext cx="4791075" cy="3117074"/>
          </a:xfr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US" dirty="0"/>
              <a:t>Picture </a:t>
            </a:r>
          </a:p>
        </p:txBody>
      </p:sp>
      <p:sp>
        <p:nvSpPr>
          <p:cNvPr id="7" name="Picture Placeholder 10"/>
          <p:cNvSpPr>
            <a:spLocks noGrp="1"/>
          </p:cNvSpPr>
          <p:nvPr>
            <p:ph type="pic" sz="quarter" idx="15" hasCustomPrompt="1"/>
          </p:nvPr>
        </p:nvSpPr>
        <p:spPr>
          <a:xfrm>
            <a:off x="7429498" y="1724789"/>
            <a:ext cx="4762502" cy="1737550"/>
          </a:xfr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US" dirty="0"/>
              <a:t>Picture </a:t>
            </a:r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9877425" y="3571272"/>
            <a:ext cx="2314575" cy="1667477"/>
          </a:xfr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US" dirty="0"/>
              <a:t>Picture </a:t>
            </a:r>
          </a:p>
        </p:txBody>
      </p:sp>
      <p:sp>
        <p:nvSpPr>
          <p:cNvPr id="9" name="Picture Placeholder 10"/>
          <p:cNvSpPr>
            <a:spLocks noGrp="1"/>
          </p:cNvSpPr>
          <p:nvPr>
            <p:ph type="pic" sz="quarter" idx="17" hasCustomPrompt="1"/>
          </p:nvPr>
        </p:nvSpPr>
        <p:spPr>
          <a:xfrm>
            <a:off x="7429499" y="5367199"/>
            <a:ext cx="2314575" cy="1338401"/>
          </a:xfr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US" dirty="0"/>
              <a:t>Picture </a:t>
            </a:r>
          </a:p>
        </p:txBody>
      </p:sp>
    </p:spTree>
    <p:extLst>
      <p:ext uri="{BB962C8B-B14F-4D97-AF65-F5344CB8AC3E}">
        <p14:creationId xmlns:p14="http://schemas.microsoft.com/office/powerpoint/2010/main" val="41409436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  <p:sp>
        <p:nvSpPr>
          <p:cNvPr id="5" name="Picture Placeholder 21"/>
          <p:cNvSpPr>
            <a:spLocks noGrp="1"/>
          </p:cNvSpPr>
          <p:nvPr>
            <p:ph type="pic" sz="quarter" idx="13" hasCustomPrompt="1"/>
          </p:nvPr>
        </p:nvSpPr>
        <p:spPr>
          <a:xfrm>
            <a:off x="875443" y="2286642"/>
            <a:ext cx="2264976" cy="1978729"/>
          </a:xfrm>
          <a:custGeom>
            <a:avLst/>
            <a:gdLst>
              <a:gd name="connsiteX0" fmla="*/ 1899543 w 2264976"/>
              <a:gd name="connsiteY0" fmla="*/ 240 h 1978729"/>
              <a:gd name="connsiteX1" fmla="*/ 2042835 w 2264976"/>
              <a:gd name="connsiteY1" fmla="*/ 31837 h 1978729"/>
              <a:gd name="connsiteX2" fmla="*/ 2096914 w 2264976"/>
              <a:gd name="connsiteY2" fmla="*/ 100959 h 1978729"/>
              <a:gd name="connsiteX3" fmla="*/ 2128830 w 2264976"/>
              <a:gd name="connsiteY3" fmla="*/ 173625 h 1978729"/>
              <a:gd name="connsiteX4" fmla="*/ 2104007 w 2264976"/>
              <a:gd name="connsiteY4" fmla="*/ 334023 h 1978729"/>
              <a:gd name="connsiteX5" fmla="*/ 2126171 w 2264976"/>
              <a:gd name="connsiteY5" fmla="*/ 380104 h 1978729"/>
              <a:gd name="connsiteX6" fmla="*/ 2078297 w 2264976"/>
              <a:gd name="connsiteY6" fmla="*/ 535185 h 1978729"/>
              <a:gd name="connsiteX7" fmla="*/ 2043721 w 2264976"/>
              <a:gd name="connsiteY7" fmla="*/ 610510 h 1978729"/>
              <a:gd name="connsiteX8" fmla="*/ 2040175 w 2264976"/>
              <a:gd name="connsiteY8" fmla="*/ 653933 h 1978729"/>
              <a:gd name="connsiteX9" fmla="*/ 2070318 w 2264976"/>
              <a:gd name="connsiteY9" fmla="*/ 700014 h 1978729"/>
              <a:gd name="connsiteX10" fmla="*/ 2162519 w 2264976"/>
              <a:gd name="connsiteY10" fmla="*/ 727485 h 1978729"/>
              <a:gd name="connsiteX11" fmla="*/ 2236989 w 2264976"/>
              <a:gd name="connsiteY11" fmla="*/ 720396 h 1978729"/>
              <a:gd name="connsiteX12" fmla="*/ 2221918 w 2264976"/>
              <a:gd name="connsiteY12" fmla="*/ 804582 h 1978729"/>
              <a:gd name="connsiteX13" fmla="*/ 2263586 w 2264976"/>
              <a:gd name="connsiteY13" fmla="*/ 844460 h 1978729"/>
              <a:gd name="connsiteX14" fmla="*/ 2178477 w 2264976"/>
              <a:gd name="connsiteY14" fmla="*/ 1029671 h 1978729"/>
              <a:gd name="connsiteX15" fmla="*/ 2170498 w 2264976"/>
              <a:gd name="connsiteY15" fmla="*/ 1093476 h 1978729"/>
              <a:gd name="connsiteX16" fmla="*/ 2200641 w 2264976"/>
              <a:gd name="connsiteY16" fmla="*/ 1204248 h 1978729"/>
              <a:gd name="connsiteX17" fmla="*/ 2223691 w 2264976"/>
              <a:gd name="connsiteY17" fmla="*/ 1271597 h 1978729"/>
              <a:gd name="connsiteX18" fmla="*/ 2232556 w 2264976"/>
              <a:gd name="connsiteY18" fmla="*/ 1323881 h 1978729"/>
              <a:gd name="connsiteX19" fmla="*/ 2205073 w 2264976"/>
              <a:gd name="connsiteY19" fmla="*/ 1334516 h 1978729"/>
              <a:gd name="connsiteX20" fmla="*/ 1526863 w 2264976"/>
              <a:gd name="connsiteY20" fmla="*/ 1560490 h 1978729"/>
              <a:gd name="connsiteX21" fmla="*/ 2181137 w 2264976"/>
              <a:gd name="connsiteY21" fmla="*/ 1374393 h 1978729"/>
              <a:gd name="connsiteX22" fmla="*/ 2186456 w 2264976"/>
              <a:gd name="connsiteY22" fmla="*/ 1392117 h 1978729"/>
              <a:gd name="connsiteX23" fmla="*/ 2221918 w 2264976"/>
              <a:gd name="connsiteY23" fmla="*/ 1449718 h 1978729"/>
              <a:gd name="connsiteX24" fmla="*/ 2174931 w 2264976"/>
              <a:gd name="connsiteY24" fmla="*/ 1510865 h 1978729"/>
              <a:gd name="connsiteX25" fmla="*/ 2111986 w 2264976"/>
              <a:gd name="connsiteY25" fmla="*/ 1548084 h 1978729"/>
              <a:gd name="connsiteX26" fmla="*/ 2051700 w 2264976"/>
              <a:gd name="connsiteY26" fmla="*/ 1600368 h 1978729"/>
              <a:gd name="connsiteX27" fmla="*/ 1016211 w 2264976"/>
              <a:gd name="connsiteY27" fmla="*/ 1970790 h 1978729"/>
              <a:gd name="connsiteX28" fmla="*/ 902732 w 2264976"/>
              <a:gd name="connsiteY28" fmla="*/ 1976993 h 1978729"/>
              <a:gd name="connsiteX29" fmla="*/ 903619 w 2264976"/>
              <a:gd name="connsiteY29" fmla="*/ 1943318 h 1978729"/>
              <a:gd name="connsiteX30" fmla="*/ 856632 w 2264976"/>
              <a:gd name="connsiteY30" fmla="*/ 1924709 h 1978729"/>
              <a:gd name="connsiteX31" fmla="*/ 853972 w 2264976"/>
              <a:gd name="connsiteY31" fmla="*/ 1883945 h 1978729"/>
              <a:gd name="connsiteX32" fmla="*/ 688187 w 2264976"/>
              <a:gd name="connsiteY32" fmla="*/ 1927367 h 1978729"/>
              <a:gd name="connsiteX33" fmla="*/ 598646 w 2264976"/>
              <a:gd name="connsiteY33" fmla="*/ 1848497 h 1978729"/>
              <a:gd name="connsiteX34" fmla="*/ 550772 w 2264976"/>
              <a:gd name="connsiteY34" fmla="*/ 1773173 h 1978729"/>
              <a:gd name="connsiteX35" fmla="*/ 525062 w 2264976"/>
              <a:gd name="connsiteY35" fmla="*/ 1673921 h 1978729"/>
              <a:gd name="connsiteX36" fmla="*/ 416017 w 2264976"/>
              <a:gd name="connsiteY36" fmla="*/ 1688100 h 1978729"/>
              <a:gd name="connsiteX37" fmla="*/ 325589 w 2264976"/>
              <a:gd name="connsiteY37" fmla="*/ 1603027 h 1978729"/>
              <a:gd name="connsiteX38" fmla="*/ 178422 w 2264976"/>
              <a:gd name="connsiteY38" fmla="*/ 1569352 h 1978729"/>
              <a:gd name="connsiteX39" fmla="*/ 165123 w 2264976"/>
              <a:gd name="connsiteY39" fmla="*/ 1478076 h 1978729"/>
              <a:gd name="connsiteX40" fmla="*/ 105724 w 2264976"/>
              <a:gd name="connsiteY40" fmla="*/ 1450605 h 1978729"/>
              <a:gd name="connsiteX41" fmla="*/ 178422 w 2264976"/>
              <a:gd name="connsiteY41" fmla="*/ 1348694 h 1978729"/>
              <a:gd name="connsiteX42" fmla="*/ 177535 w 2264976"/>
              <a:gd name="connsiteY42" fmla="*/ 1347808 h 1978729"/>
              <a:gd name="connsiteX43" fmla="*/ 783048 w 2264976"/>
              <a:gd name="connsiteY43" fmla="*/ 1008403 h 1978729"/>
              <a:gd name="connsiteX44" fmla="*/ 159804 w 2264976"/>
              <a:gd name="connsiteY44" fmla="*/ 1322995 h 1978729"/>
              <a:gd name="connsiteX45" fmla="*/ 152712 w 2264976"/>
              <a:gd name="connsiteY45" fmla="*/ 1276914 h 1978729"/>
              <a:gd name="connsiteX46" fmla="*/ 117250 w 2264976"/>
              <a:gd name="connsiteY46" fmla="*/ 1222857 h 1978729"/>
              <a:gd name="connsiteX47" fmla="*/ 107497 w 2264976"/>
              <a:gd name="connsiteY47" fmla="*/ 1150191 h 1978729"/>
              <a:gd name="connsiteX48" fmla="*/ 57851 w 2264976"/>
              <a:gd name="connsiteY48" fmla="*/ 1126264 h 1978729"/>
              <a:gd name="connsiteX49" fmla="*/ 36574 w 2264976"/>
              <a:gd name="connsiteY49" fmla="*/ 1120947 h 1978729"/>
              <a:gd name="connsiteX50" fmla="*/ 22389 w 2264976"/>
              <a:gd name="connsiteY50" fmla="*/ 1011061 h 1978729"/>
              <a:gd name="connsiteX51" fmla="*/ 34800 w 2264976"/>
              <a:gd name="connsiteY51" fmla="*/ 929533 h 1978729"/>
              <a:gd name="connsiteX52" fmla="*/ 61397 w 2264976"/>
              <a:gd name="connsiteY52" fmla="*/ 854208 h 1978729"/>
              <a:gd name="connsiteX53" fmla="*/ 662478 w 2264976"/>
              <a:gd name="connsiteY53" fmla="*/ 393397 h 1978729"/>
              <a:gd name="connsiteX54" fmla="*/ 1833609 w 2264976"/>
              <a:gd name="connsiteY54" fmla="*/ 4366 h 1978729"/>
              <a:gd name="connsiteX55" fmla="*/ 1899543 w 2264976"/>
              <a:gd name="connsiteY55" fmla="*/ 240 h 1978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2264976" h="1978729">
                <a:moveTo>
                  <a:pt x="1899543" y="240"/>
                </a:moveTo>
                <a:cubicBezTo>
                  <a:pt x="2028872" y="-3250"/>
                  <a:pt x="1997843" y="32613"/>
                  <a:pt x="2042835" y="31837"/>
                </a:cubicBezTo>
                <a:cubicBezTo>
                  <a:pt x="2093368" y="30065"/>
                  <a:pt x="2128830" y="53992"/>
                  <a:pt x="2096914" y="100959"/>
                </a:cubicBezTo>
                <a:cubicBezTo>
                  <a:pt x="2065885" y="147926"/>
                  <a:pt x="2126171" y="155016"/>
                  <a:pt x="2128830" y="173625"/>
                </a:cubicBezTo>
                <a:cubicBezTo>
                  <a:pt x="2132376" y="192235"/>
                  <a:pt x="2144788" y="286170"/>
                  <a:pt x="2104007" y="334023"/>
                </a:cubicBezTo>
                <a:cubicBezTo>
                  <a:pt x="2063225" y="381877"/>
                  <a:pt x="2127057" y="346430"/>
                  <a:pt x="2126171" y="380104"/>
                </a:cubicBezTo>
                <a:cubicBezTo>
                  <a:pt x="2125284" y="413779"/>
                  <a:pt x="2111986" y="513917"/>
                  <a:pt x="2078297" y="535185"/>
                </a:cubicBezTo>
                <a:cubicBezTo>
                  <a:pt x="2044608" y="557339"/>
                  <a:pt x="2030423" y="601648"/>
                  <a:pt x="2043721" y="610510"/>
                </a:cubicBezTo>
                <a:cubicBezTo>
                  <a:pt x="2056133" y="618486"/>
                  <a:pt x="2077410" y="632664"/>
                  <a:pt x="2040175" y="653933"/>
                </a:cubicBezTo>
                <a:cubicBezTo>
                  <a:pt x="2003827" y="674315"/>
                  <a:pt x="1967478" y="743436"/>
                  <a:pt x="2070318" y="700014"/>
                </a:cubicBezTo>
                <a:cubicBezTo>
                  <a:pt x="2174044" y="656591"/>
                  <a:pt x="2144788" y="723941"/>
                  <a:pt x="2162519" y="727485"/>
                </a:cubicBezTo>
                <a:cubicBezTo>
                  <a:pt x="2180250" y="731916"/>
                  <a:pt x="2233443" y="709762"/>
                  <a:pt x="2236989" y="720396"/>
                </a:cubicBezTo>
                <a:cubicBezTo>
                  <a:pt x="2240535" y="730144"/>
                  <a:pt x="2212166" y="790404"/>
                  <a:pt x="2221918" y="804582"/>
                </a:cubicBezTo>
                <a:cubicBezTo>
                  <a:pt x="2230783" y="817875"/>
                  <a:pt x="2260926" y="799265"/>
                  <a:pt x="2263586" y="844460"/>
                </a:cubicBezTo>
                <a:cubicBezTo>
                  <a:pt x="2265359" y="889655"/>
                  <a:pt x="2268905" y="1002200"/>
                  <a:pt x="2178477" y="1029671"/>
                </a:cubicBezTo>
                <a:cubicBezTo>
                  <a:pt x="2178477" y="1029671"/>
                  <a:pt x="2152767" y="1057143"/>
                  <a:pt x="2170498" y="1093476"/>
                </a:cubicBezTo>
                <a:cubicBezTo>
                  <a:pt x="2187342" y="1128923"/>
                  <a:pt x="2223691" y="1147533"/>
                  <a:pt x="2200641" y="1204248"/>
                </a:cubicBezTo>
                <a:cubicBezTo>
                  <a:pt x="2176704" y="1260963"/>
                  <a:pt x="2217485" y="1271597"/>
                  <a:pt x="2223691" y="1271597"/>
                </a:cubicBezTo>
                <a:cubicBezTo>
                  <a:pt x="2229010" y="1271597"/>
                  <a:pt x="2307913" y="1302613"/>
                  <a:pt x="2232556" y="1323881"/>
                </a:cubicBezTo>
                <a:cubicBezTo>
                  <a:pt x="2221031" y="1327426"/>
                  <a:pt x="2212166" y="1330971"/>
                  <a:pt x="2205073" y="1334516"/>
                </a:cubicBezTo>
                <a:cubicBezTo>
                  <a:pt x="2205073" y="1334516"/>
                  <a:pt x="2205073" y="1334516"/>
                  <a:pt x="1526863" y="1560490"/>
                </a:cubicBezTo>
                <a:cubicBezTo>
                  <a:pt x="1526863" y="1560490"/>
                  <a:pt x="1526863" y="1560490"/>
                  <a:pt x="2181137" y="1374393"/>
                </a:cubicBezTo>
                <a:cubicBezTo>
                  <a:pt x="2182023" y="1384141"/>
                  <a:pt x="2186456" y="1392117"/>
                  <a:pt x="2186456" y="1392117"/>
                </a:cubicBezTo>
                <a:cubicBezTo>
                  <a:pt x="2186456" y="1392117"/>
                  <a:pt x="2228124" y="1420475"/>
                  <a:pt x="2221918" y="1449718"/>
                </a:cubicBezTo>
                <a:cubicBezTo>
                  <a:pt x="2214825" y="1478962"/>
                  <a:pt x="2174044" y="1470100"/>
                  <a:pt x="2174931" y="1510865"/>
                </a:cubicBezTo>
                <a:cubicBezTo>
                  <a:pt x="2176704" y="1551629"/>
                  <a:pt x="2148334" y="1529474"/>
                  <a:pt x="2111986" y="1548084"/>
                </a:cubicBezTo>
                <a:cubicBezTo>
                  <a:pt x="2074751" y="1565807"/>
                  <a:pt x="2117305" y="1573783"/>
                  <a:pt x="2051700" y="1600368"/>
                </a:cubicBezTo>
                <a:cubicBezTo>
                  <a:pt x="1985209" y="1626954"/>
                  <a:pt x="1016211" y="1970790"/>
                  <a:pt x="1016211" y="1970790"/>
                </a:cubicBezTo>
                <a:cubicBezTo>
                  <a:pt x="1016211" y="1970790"/>
                  <a:pt x="973656" y="1983196"/>
                  <a:pt x="902732" y="1976993"/>
                </a:cubicBezTo>
                <a:cubicBezTo>
                  <a:pt x="902732" y="1976993"/>
                  <a:pt x="888548" y="1964586"/>
                  <a:pt x="903619" y="1943318"/>
                </a:cubicBezTo>
                <a:cubicBezTo>
                  <a:pt x="918690" y="1922050"/>
                  <a:pt x="865497" y="1932684"/>
                  <a:pt x="856632" y="1924709"/>
                </a:cubicBezTo>
                <a:cubicBezTo>
                  <a:pt x="846880" y="1915847"/>
                  <a:pt x="867270" y="1906099"/>
                  <a:pt x="853972" y="1883945"/>
                </a:cubicBezTo>
                <a:cubicBezTo>
                  <a:pt x="840674" y="1861790"/>
                  <a:pt x="751132" y="1926481"/>
                  <a:pt x="688187" y="1927367"/>
                </a:cubicBezTo>
                <a:cubicBezTo>
                  <a:pt x="626129" y="1928253"/>
                  <a:pt x="598646" y="1848497"/>
                  <a:pt x="598646" y="1848497"/>
                </a:cubicBezTo>
                <a:cubicBezTo>
                  <a:pt x="598646" y="1848497"/>
                  <a:pt x="616377" y="1795327"/>
                  <a:pt x="550772" y="1773173"/>
                </a:cubicBezTo>
                <a:cubicBezTo>
                  <a:pt x="486054" y="1751018"/>
                  <a:pt x="533041" y="1694303"/>
                  <a:pt x="525062" y="1673921"/>
                </a:cubicBezTo>
                <a:cubicBezTo>
                  <a:pt x="516197" y="1654425"/>
                  <a:pt x="493147" y="1703165"/>
                  <a:pt x="416017" y="1688100"/>
                </a:cubicBezTo>
                <a:cubicBezTo>
                  <a:pt x="338887" y="1673035"/>
                  <a:pt x="306085" y="1685441"/>
                  <a:pt x="325589" y="1603027"/>
                </a:cubicBezTo>
                <a:cubicBezTo>
                  <a:pt x="325589" y="1603027"/>
                  <a:pt x="220089" y="1609230"/>
                  <a:pt x="178422" y="1569352"/>
                </a:cubicBezTo>
                <a:cubicBezTo>
                  <a:pt x="136754" y="1530360"/>
                  <a:pt x="179308" y="1516182"/>
                  <a:pt x="165123" y="1478076"/>
                </a:cubicBezTo>
                <a:cubicBezTo>
                  <a:pt x="150052" y="1439970"/>
                  <a:pt x="120796" y="1487824"/>
                  <a:pt x="105724" y="1450605"/>
                </a:cubicBezTo>
                <a:cubicBezTo>
                  <a:pt x="90653" y="1413385"/>
                  <a:pt x="178422" y="1348694"/>
                  <a:pt x="178422" y="1348694"/>
                </a:cubicBezTo>
                <a:cubicBezTo>
                  <a:pt x="178422" y="1348694"/>
                  <a:pt x="178422" y="1348694"/>
                  <a:pt x="177535" y="1347808"/>
                </a:cubicBezTo>
                <a:cubicBezTo>
                  <a:pt x="177535" y="1347808"/>
                  <a:pt x="177535" y="1347808"/>
                  <a:pt x="783048" y="1008403"/>
                </a:cubicBezTo>
                <a:cubicBezTo>
                  <a:pt x="783048" y="1008403"/>
                  <a:pt x="783048" y="1008403"/>
                  <a:pt x="159804" y="1322995"/>
                </a:cubicBezTo>
                <a:cubicBezTo>
                  <a:pt x="152712" y="1310589"/>
                  <a:pt x="147392" y="1293752"/>
                  <a:pt x="152712" y="1276914"/>
                </a:cubicBezTo>
                <a:cubicBezTo>
                  <a:pt x="165123" y="1241467"/>
                  <a:pt x="158917" y="1227288"/>
                  <a:pt x="117250" y="1222857"/>
                </a:cubicBezTo>
                <a:cubicBezTo>
                  <a:pt x="75582" y="1218427"/>
                  <a:pt x="75582" y="1179435"/>
                  <a:pt x="107497" y="1150191"/>
                </a:cubicBezTo>
                <a:cubicBezTo>
                  <a:pt x="140300" y="1120947"/>
                  <a:pt x="80015" y="1130695"/>
                  <a:pt x="57851" y="1126264"/>
                </a:cubicBezTo>
                <a:cubicBezTo>
                  <a:pt x="36574" y="1120947"/>
                  <a:pt x="36574" y="1120947"/>
                  <a:pt x="36574" y="1120947"/>
                </a:cubicBezTo>
                <a:cubicBezTo>
                  <a:pt x="36574" y="1120947"/>
                  <a:pt x="-35237" y="1079297"/>
                  <a:pt x="22389" y="1011061"/>
                </a:cubicBezTo>
                <a:cubicBezTo>
                  <a:pt x="22389" y="1011061"/>
                  <a:pt x="1112" y="959663"/>
                  <a:pt x="34800" y="929533"/>
                </a:cubicBezTo>
                <a:cubicBezTo>
                  <a:pt x="68489" y="900289"/>
                  <a:pt x="48099" y="873704"/>
                  <a:pt x="61397" y="854208"/>
                </a:cubicBezTo>
                <a:cubicBezTo>
                  <a:pt x="74695" y="834712"/>
                  <a:pt x="171329" y="659250"/>
                  <a:pt x="662478" y="393397"/>
                </a:cubicBezTo>
                <a:cubicBezTo>
                  <a:pt x="1152739" y="127544"/>
                  <a:pt x="1627043" y="22976"/>
                  <a:pt x="1833609" y="4366"/>
                </a:cubicBezTo>
                <a:cubicBezTo>
                  <a:pt x="1859319" y="2040"/>
                  <a:pt x="1881067" y="738"/>
                  <a:pt x="1899543" y="240"/>
                </a:cubicBezTo>
                <a:close/>
              </a:path>
            </a:pathLst>
          </a:custGeo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None/>
              <a:defRPr sz="1400"/>
            </a:lvl1pPr>
          </a:lstStyle>
          <a:p>
            <a:r>
              <a:rPr lang="en-US" dirty="0"/>
              <a:t>Picture </a:t>
            </a:r>
          </a:p>
        </p:txBody>
      </p:sp>
      <p:sp>
        <p:nvSpPr>
          <p:cNvPr id="6" name="Picture Placeholder 22"/>
          <p:cNvSpPr>
            <a:spLocks noGrp="1"/>
          </p:cNvSpPr>
          <p:nvPr>
            <p:ph type="pic" sz="quarter" idx="14" hasCustomPrompt="1"/>
          </p:nvPr>
        </p:nvSpPr>
        <p:spPr>
          <a:xfrm>
            <a:off x="3598256" y="2286642"/>
            <a:ext cx="2264976" cy="1978729"/>
          </a:xfrm>
          <a:custGeom>
            <a:avLst/>
            <a:gdLst>
              <a:gd name="connsiteX0" fmla="*/ 1899543 w 2264976"/>
              <a:gd name="connsiteY0" fmla="*/ 240 h 1978729"/>
              <a:gd name="connsiteX1" fmla="*/ 2042835 w 2264976"/>
              <a:gd name="connsiteY1" fmla="*/ 31837 h 1978729"/>
              <a:gd name="connsiteX2" fmla="*/ 2096914 w 2264976"/>
              <a:gd name="connsiteY2" fmla="*/ 100959 h 1978729"/>
              <a:gd name="connsiteX3" fmla="*/ 2128830 w 2264976"/>
              <a:gd name="connsiteY3" fmla="*/ 173625 h 1978729"/>
              <a:gd name="connsiteX4" fmla="*/ 2104007 w 2264976"/>
              <a:gd name="connsiteY4" fmla="*/ 334023 h 1978729"/>
              <a:gd name="connsiteX5" fmla="*/ 2126171 w 2264976"/>
              <a:gd name="connsiteY5" fmla="*/ 380104 h 1978729"/>
              <a:gd name="connsiteX6" fmla="*/ 2078297 w 2264976"/>
              <a:gd name="connsiteY6" fmla="*/ 535185 h 1978729"/>
              <a:gd name="connsiteX7" fmla="*/ 2043721 w 2264976"/>
              <a:gd name="connsiteY7" fmla="*/ 610510 h 1978729"/>
              <a:gd name="connsiteX8" fmla="*/ 2040175 w 2264976"/>
              <a:gd name="connsiteY8" fmla="*/ 653933 h 1978729"/>
              <a:gd name="connsiteX9" fmla="*/ 2070318 w 2264976"/>
              <a:gd name="connsiteY9" fmla="*/ 700014 h 1978729"/>
              <a:gd name="connsiteX10" fmla="*/ 2162519 w 2264976"/>
              <a:gd name="connsiteY10" fmla="*/ 727485 h 1978729"/>
              <a:gd name="connsiteX11" fmla="*/ 2236989 w 2264976"/>
              <a:gd name="connsiteY11" fmla="*/ 720396 h 1978729"/>
              <a:gd name="connsiteX12" fmla="*/ 2221918 w 2264976"/>
              <a:gd name="connsiteY12" fmla="*/ 804582 h 1978729"/>
              <a:gd name="connsiteX13" fmla="*/ 2263586 w 2264976"/>
              <a:gd name="connsiteY13" fmla="*/ 844460 h 1978729"/>
              <a:gd name="connsiteX14" fmla="*/ 2178477 w 2264976"/>
              <a:gd name="connsiteY14" fmla="*/ 1029671 h 1978729"/>
              <a:gd name="connsiteX15" fmla="*/ 2170498 w 2264976"/>
              <a:gd name="connsiteY15" fmla="*/ 1093476 h 1978729"/>
              <a:gd name="connsiteX16" fmla="*/ 2200641 w 2264976"/>
              <a:gd name="connsiteY16" fmla="*/ 1204248 h 1978729"/>
              <a:gd name="connsiteX17" fmla="*/ 2223691 w 2264976"/>
              <a:gd name="connsiteY17" fmla="*/ 1271597 h 1978729"/>
              <a:gd name="connsiteX18" fmla="*/ 2232556 w 2264976"/>
              <a:gd name="connsiteY18" fmla="*/ 1323881 h 1978729"/>
              <a:gd name="connsiteX19" fmla="*/ 2205073 w 2264976"/>
              <a:gd name="connsiteY19" fmla="*/ 1334516 h 1978729"/>
              <a:gd name="connsiteX20" fmla="*/ 1526863 w 2264976"/>
              <a:gd name="connsiteY20" fmla="*/ 1560490 h 1978729"/>
              <a:gd name="connsiteX21" fmla="*/ 2181137 w 2264976"/>
              <a:gd name="connsiteY21" fmla="*/ 1374393 h 1978729"/>
              <a:gd name="connsiteX22" fmla="*/ 2186456 w 2264976"/>
              <a:gd name="connsiteY22" fmla="*/ 1392117 h 1978729"/>
              <a:gd name="connsiteX23" fmla="*/ 2221918 w 2264976"/>
              <a:gd name="connsiteY23" fmla="*/ 1449718 h 1978729"/>
              <a:gd name="connsiteX24" fmla="*/ 2174931 w 2264976"/>
              <a:gd name="connsiteY24" fmla="*/ 1510865 h 1978729"/>
              <a:gd name="connsiteX25" fmla="*/ 2111986 w 2264976"/>
              <a:gd name="connsiteY25" fmla="*/ 1548084 h 1978729"/>
              <a:gd name="connsiteX26" fmla="*/ 2051700 w 2264976"/>
              <a:gd name="connsiteY26" fmla="*/ 1600368 h 1978729"/>
              <a:gd name="connsiteX27" fmla="*/ 1016211 w 2264976"/>
              <a:gd name="connsiteY27" fmla="*/ 1970790 h 1978729"/>
              <a:gd name="connsiteX28" fmla="*/ 902732 w 2264976"/>
              <a:gd name="connsiteY28" fmla="*/ 1976993 h 1978729"/>
              <a:gd name="connsiteX29" fmla="*/ 903619 w 2264976"/>
              <a:gd name="connsiteY29" fmla="*/ 1943318 h 1978729"/>
              <a:gd name="connsiteX30" fmla="*/ 856632 w 2264976"/>
              <a:gd name="connsiteY30" fmla="*/ 1924709 h 1978729"/>
              <a:gd name="connsiteX31" fmla="*/ 853972 w 2264976"/>
              <a:gd name="connsiteY31" fmla="*/ 1883945 h 1978729"/>
              <a:gd name="connsiteX32" fmla="*/ 688188 w 2264976"/>
              <a:gd name="connsiteY32" fmla="*/ 1927367 h 1978729"/>
              <a:gd name="connsiteX33" fmla="*/ 598646 w 2264976"/>
              <a:gd name="connsiteY33" fmla="*/ 1848497 h 1978729"/>
              <a:gd name="connsiteX34" fmla="*/ 550772 w 2264976"/>
              <a:gd name="connsiteY34" fmla="*/ 1773173 h 1978729"/>
              <a:gd name="connsiteX35" fmla="*/ 525062 w 2264976"/>
              <a:gd name="connsiteY35" fmla="*/ 1673921 h 1978729"/>
              <a:gd name="connsiteX36" fmla="*/ 416017 w 2264976"/>
              <a:gd name="connsiteY36" fmla="*/ 1688100 h 1978729"/>
              <a:gd name="connsiteX37" fmla="*/ 325589 w 2264976"/>
              <a:gd name="connsiteY37" fmla="*/ 1603027 h 1978729"/>
              <a:gd name="connsiteX38" fmla="*/ 178422 w 2264976"/>
              <a:gd name="connsiteY38" fmla="*/ 1569352 h 1978729"/>
              <a:gd name="connsiteX39" fmla="*/ 165123 w 2264976"/>
              <a:gd name="connsiteY39" fmla="*/ 1478076 h 1978729"/>
              <a:gd name="connsiteX40" fmla="*/ 105724 w 2264976"/>
              <a:gd name="connsiteY40" fmla="*/ 1450605 h 1978729"/>
              <a:gd name="connsiteX41" fmla="*/ 178422 w 2264976"/>
              <a:gd name="connsiteY41" fmla="*/ 1348694 h 1978729"/>
              <a:gd name="connsiteX42" fmla="*/ 177535 w 2264976"/>
              <a:gd name="connsiteY42" fmla="*/ 1347808 h 1978729"/>
              <a:gd name="connsiteX43" fmla="*/ 783048 w 2264976"/>
              <a:gd name="connsiteY43" fmla="*/ 1008403 h 1978729"/>
              <a:gd name="connsiteX44" fmla="*/ 159804 w 2264976"/>
              <a:gd name="connsiteY44" fmla="*/ 1322995 h 1978729"/>
              <a:gd name="connsiteX45" fmla="*/ 152712 w 2264976"/>
              <a:gd name="connsiteY45" fmla="*/ 1276914 h 1978729"/>
              <a:gd name="connsiteX46" fmla="*/ 117250 w 2264976"/>
              <a:gd name="connsiteY46" fmla="*/ 1222857 h 1978729"/>
              <a:gd name="connsiteX47" fmla="*/ 107498 w 2264976"/>
              <a:gd name="connsiteY47" fmla="*/ 1150191 h 1978729"/>
              <a:gd name="connsiteX48" fmla="*/ 57851 w 2264976"/>
              <a:gd name="connsiteY48" fmla="*/ 1126264 h 1978729"/>
              <a:gd name="connsiteX49" fmla="*/ 36574 w 2264976"/>
              <a:gd name="connsiteY49" fmla="*/ 1120947 h 1978729"/>
              <a:gd name="connsiteX50" fmla="*/ 22389 w 2264976"/>
              <a:gd name="connsiteY50" fmla="*/ 1011061 h 1978729"/>
              <a:gd name="connsiteX51" fmla="*/ 34801 w 2264976"/>
              <a:gd name="connsiteY51" fmla="*/ 929533 h 1978729"/>
              <a:gd name="connsiteX52" fmla="*/ 61397 w 2264976"/>
              <a:gd name="connsiteY52" fmla="*/ 854208 h 1978729"/>
              <a:gd name="connsiteX53" fmla="*/ 662478 w 2264976"/>
              <a:gd name="connsiteY53" fmla="*/ 393397 h 1978729"/>
              <a:gd name="connsiteX54" fmla="*/ 1833609 w 2264976"/>
              <a:gd name="connsiteY54" fmla="*/ 4366 h 1978729"/>
              <a:gd name="connsiteX55" fmla="*/ 1899543 w 2264976"/>
              <a:gd name="connsiteY55" fmla="*/ 240 h 1978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2264976" h="1978729">
                <a:moveTo>
                  <a:pt x="1899543" y="240"/>
                </a:moveTo>
                <a:cubicBezTo>
                  <a:pt x="2028872" y="-3250"/>
                  <a:pt x="1997843" y="32613"/>
                  <a:pt x="2042835" y="31837"/>
                </a:cubicBezTo>
                <a:cubicBezTo>
                  <a:pt x="2093368" y="30065"/>
                  <a:pt x="2128830" y="53992"/>
                  <a:pt x="2096914" y="100959"/>
                </a:cubicBezTo>
                <a:cubicBezTo>
                  <a:pt x="2065885" y="147926"/>
                  <a:pt x="2126171" y="155016"/>
                  <a:pt x="2128830" y="173625"/>
                </a:cubicBezTo>
                <a:cubicBezTo>
                  <a:pt x="2132376" y="192235"/>
                  <a:pt x="2144788" y="286170"/>
                  <a:pt x="2104007" y="334023"/>
                </a:cubicBezTo>
                <a:cubicBezTo>
                  <a:pt x="2063225" y="381877"/>
                  <a:pt x="2127057" y="346430"/>
                  <a:pt x="2126171" y="380104"/>
                </a:cubicBezTo>
                <a:cubicBezTo>
                  <a:pt x="2125284" y="413779"/>
                  <a:pt x="2111986" y="513917"/>
                  <a:pt x="2078297" y="535185"/>
                </a:cubicBezTo>
                <a:cubicBezTo>
                  <a:pt x="2044608" y="557339"/>
                  <a:pt x="2030423" y="601648"/>
                  <a:pt x="2043721" y="610510"/>
                </a:cubicBezTo>
                <a:cubicBezTo>
                  <a:pt x="2056133" y="618486"/>
                  <a:pt x="2077410" y="632664"/>
                  <a:pt x="2040175" y="653933"/>
                </a:cubicBezTo>
                <a:cubicBezTo>
                  <a:pt x="2003827" y="674315"/>
                  <a:pt x="1967478" y="743436"/>
                  <a:pt x="2070318" y="700014"/>
                </a:cubicBezTo>
                <a:cubicBezTo>
                  <a:pt x="2174044" y="656591"/>
                  <a:pt x="2144788" y="723941"/>
                  <a:pt x="2162519" y="727485"/>
                </a:cubicBezTo>
                <a:cubicBezTo>
                  <a:pt x="2180250" y="731916"/>
                  <a:pt x="2233443" y="709762"/>
                  <a:pt x="2236989" y="720396"/>
                </a:cubicBezTo>
                <a:cubicBezTo>
                  <a:pt x="2240535" y="730144"/>
                  <a:pt x="2212166" y="790404"/>
                  <a:pt x="2221918" y="804582"/>
                </a:cubicBezTo>
                <a:cubicBezTo>
                  <a:pt x="2230783" y="817875"/>
                  <a:pt x="2260926" y="799265"/>
                  <a:pt x="2263586" y="844460"/>
                </a:cubicBezTo>
                <a:cubicBezTo>
                  <a:pt x="2265359" y="889655"/>
                  <a:pt x="2268905" y="1002200"/>
                  <a:pt x="2178477" y="1029671"/>
                </a:cubicBezTo>
                <a:cubicBezTo>
                  <a:pt x="2178477" y="1029671"/>
                  <a:pt x="2152767" y="1057143"/>
                  <a:pt x="2170498" y="1093476"/>
                </a:cubicBezTo>
                <a:cubicBezTo>
                  <a:pt x="2187342" y="1128923"/>
                  <a:pt x="2223691" y="1147533"/>
                  <a:pt x="2200641" y="1204248"/>
                </a:cubicBezTo>
                <a:cubicBezTo>
                  <a:pt x="2176704" y="1260963"/>
                  <a:pt x="2217485" y="1271597"/>
                  <a:pt x="2223691" y="1271597"/>
                </a:cubicBezTo>
                <a:cubicBezTo>
                  <a:pt x="2229010" y="1271597"/>
                  <a:pt x="2307913" y="1302613"/>
                  <a:pt x="2232556" y="1323881"/>
                </a:cubicBezTo>
                <a:cubicBezTo>
                  <a:pt x="2221031" y="1327426"/>
                  <a:pt x="2212166" y="1330971"/>
                  <a:pt x="2205073" y="1334516"/>
                </a:cubicBezTo>
                <a:cubicBezTo>
                  <a:pt x="2205073" y="1334516"/>
                  <a:pt x="2205073" y="1334516"/>
                  <a:pt x="1526863" y="1560490"/>
                </a:cubicBezTo>
                <a:cubicBezTo>
                  <a:pt x="1526863" y="1560490"/>
                  <a:pt x="1526863" y="1560490"/>
                  <a:pt x="2181137" y="1374393"/>
                </a:cubicBezTo>
                <a:cubicBezTo>
                  <a:pt x="2182023" y="1384141"/>
                  <a:pt x="2186456" y="1392117"/>
                  <a:pt x="2186456" y="1392117"/>
                </a:cubicBezTo>
                <a:cubicBezTo>
                  <a:pt x="2186456" y="1392117"/>
                  <a:pt x="2228124" y="1420475"/>
                  <a:pt x="2221918" y="1449718"/>
                </a:cubicBezTo>
                <a:cubicBezTo>
                  <a:pt x="2214825" y="1478962"/>
                  <a:pt x="2174044" y="1470100"/>
                  <a:pt x="2174931" y="1510865"/>
                </a:cubicBezTo>
                <a:cubicBezTo>
                  <a:pt x="2176704" y="1551629"/>
                  <a:pt x="2148334" y="1529474"/>
                  <a:pt x="2111986" y="1548084"/>
                </a:cubicBezTo>
                <a:cubicBezTo>
                  <a:pt x="2074751" y="1565807"/>
                  <a:pt x="2117305" y="1573783"/>
                  <a:pt x="2051700" y="1600368"/>
                </a:cubicBezTo>
                <a:cubicBezTo>
                  <a:pt x="1985209" y="1626954"/>
                  <a:pt x="1016211" y="1970790"/>
                  <a:pt x="1016211" y="1970790"/>
                </a:cubicBezTo>
                <a:cubicBezTo>
                  <a:pt x="1016211" y="1970790"/>
                  <a:pt x="973656" y="1983196"/>
                  <a:pt x="902732" y="1976993"/>
                </a:cubicBezTo>
                <a:cubicBezTo>
                  <a:pt x="902732" y="1976993"/>
                  <a:pt x="888548" y="1964586"/>
                  <a:pt x="903619" y="1943318"/>
                </a:cubicBezTo>
                <a:cubicBezTo>
                  <a:pt x="918690" y="1922050"/>
                  <a:pt x="865497" y="1932684"/>
                  <a:pt x="856632" y="1924709"/>
                </a:cubicBezTo>
                <a:cubicBezTo>
                  <a:pt x="846880" y="1915847"/>
                  <a:pt x="867270" y="1906099"/>
                  <a:pt x="853972" y="1883945"/>
                </a:cubicBezTo>
                <a:cubicBezTo>
                  <a:pt x="840674" y="1861790"/>
                  <a:pt x="751133" y="1926481"/>
                  <a:pt x="688188" y="1927367"/>
                </a:cubicBezTo>
                <a:cubicBezTo>
                  <a:pt x="626129" y="1928253"/>
                  <a:pt x="598646" y="1848497"/>
                  <a:pt x="598646" y="1848497"/>
                </a:cubicBezTo>
                <a:cubicBezTo>
                  <a:pt x="598646" y="1848497"/>
                  <a:pt x="616377" y="1795327"/>
                  <a:pt x="550772" y="1773173"/>
                </a:cubicBezTo>
                <a:cubicBezTo>
                  <a:pt x="486054" y="1751018"/>
                  <a:pt x="533041" y="1694303"/>
                  <a:pt x="525062" y="1673921"/>
                </a:cubicBezTo>
                <a:cubicBezTo>
                  <a:pt x="516197" y="1654425"/>
                  <a:pt x="493147" y="1703165"/>
                  <a:pt x="416017" y="1688100"/>
                </a:cubicBezTo>
                <a:cubicBezTo>
                  <a:pt x="338887" y="1673035"/>
                  <a:pt x="306085" y="1685441"/>
                  <a:pt x="325589" y="1603027"/>
                </a:cubicBezTo>
                <a:cubicBezTo>
                  <a:pt x="325589" y="1603027"/>
                  <a:pt x="220089" y="1609230"/>
                  <a:pt x="178422" y="1569352"/>
                </a:cubicBezTo>
                <a:cubicBezTo>
                  <a:pt x="136754" y="1530360"/>
                  <a:pt x="179308" y="1516182"/>
                  <a:pt x="165123" y="1478076"/>
                </a:cubicBezTo>
                <a:cubicBezTo>
                  <a:pt x="150052" y="1439970"/>
                  <a:pt x="120796" y="1487824"/>
                  <a:pt x="105724" y="1450605"/>
                </a:cubicBezTo>
                <a:cubicBezTo>
                  <a:pt x="90653" y="1413385"/>
                  <a:pt x="178422" y="1348694"/>
                  <a:pt x="178422" y="1348694"/>
                </a:cubicBezTo>
                <a:cubicBezTo>
                  <a:pt x="178422" y="1348694"/>
                  <a:pt x="178422" y="1348694"/>
                  <a:pt x="177535" y="1347808"/>
                </a:cubicBezTo>
                <a:cubicBezTo>
                  <a:pt x="177535" y="1347808"/>
                  <a:pt x="177535" y="1347808"/>
                  <a:pt x="783048" y="1008403"/>
                </a:cubicBezTo>
                <a:cubicBezTo>
                  <a:pt x="783048" y="1008403"/>
                  <a:pt x="783048" y="1008403"/>
                  <a:pt x="159804" y="1322995"/>
                </a:cubicBezTo>
                <a:cubicBezTo>
                  <a:pt x="152712" y="1310589"/>
                  <a:pt x="147392" y="1293752"/>
                  <a:pt x="152712" y="1276914"/>
                </a:cubicBezTo>
                <a:cubicBezTo>
                  <a:pt x="165123" y="1241467"/>
                  <a:pt x="158917" y="1227288"/>
                  <a:pt x="117250" y="1222857"/>
                </a:cubicBezTo>
                <a:cubicBezTo>
                  <a:pt x="75582" y="1218427"/>
                  <a:pt x="75582" y="1179435"/>
                  <a:pt x="107498" y="1150191"/>
                </a:cubicBezTo>
                <a:cubicBezTo>
                  <a:pt x="140300" y="1120947"/>
                  <a:pt x="80015" y="1130695"/>
                  <a:pt x="57851" y="1126264"/>
                </a:cubicBezTo>
                <a:cubicBezTo>
                  <a:pt x="36574" y="1120947"/>
                  <a:pt x="36574" y="1120947"/>
                  <a:pt x="36574" y="1120947"/>
                </a:cubicBezTo>
                <a:cubicBezTo>
                  <a:pt x="36574" y="1120947"/>
                  <a:pt x="-35237" y="1079297"/>
                  <a:pt x="22389" y="1011061"/>
                </a:cubicBezTo>
                <a:cubicBezTo>
                  <a:pt x="22389" y="1011061"/>
                  <a:pt x="1112" y="959663"/>
                  <a:pt x="34801" y="929533"/>
                </a:cubicBezTo>
                <a:cubicBezTo>
                  <a:pt x="68489" y="900289"/>
                  <a:pt x="48099" y="873704"/>
                  <a:pt x="61397" y="854208"/>
                </a:cubicBezTo>
                <a:cubicBezTo>
                  <a:pt x="74695" y="834712"/>
                  <a:pt x="171329" y="659250"/>
                  <a:pt x="662478" y="393397"/>
                </a:cubicBezTo>
                <a:cubicBezTo>
                  <a:pt x="1152739" y="127544"/>
                  <a:pt x="1627043" y="22976"/>
                  <a:pt x="1833609" y="4366"/>
                </a:cubicBezTo>
                <a:cubicBezTo>
                  <a:pt x="1859319" y="2040"/>
                  <a:pt x="1881067" y="738"/>
                  <a:pt x="1899543" y="240"/>
                </a:cubicBezTo>
                <a:close/>
              </a:path>
            </a:pathLst>
          </a:custGeo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None/>
              <a:defRPr sz="1400"/>
            </a:lvl1pPr>
          </a:lstStyle>
          <a:p>
            <a:r>
              <a:rPr lang="en-US" dirty="0"/>
              <a:t>Picture </a:t>
            </a:r>
          </a:p>
        </p:txBody>
      </p:sp>
      <p:sp>
        <p:nvSpPr>
          <p:cNvPr id="7" name="Picture Placeholder 23"/>
          <p:cNvSpPr>
            <a:spLocks noGrp="1"/>
          </p:cNvSpPr>
          <p:nvPr>
            <p:ph type="pic" sz="quarter" idx="15" hasCustomPrompt="1"/>
          </p:nvPr>
        </p:nvSpPr>
        <p:spPr>
          <a:xfrm>
            <a:off x="6321069" y="2286642"/>
            <a:ext cx="2264976" cy="1978729"/>
          </a:xfrm>
          <a:custGeom>
            <a:avLst/>
            <a:gdLst>
              <a:gd name="connsiteX0" fmla="*/ 1899543 w 2264976"/>
              <a:gd name="connsiteY0" fmla="*/ 240 h 1978729"/>
              <a:gd name="connsiteX1" fmla="*/ 2042835 w 2264976"/>
              <a:gd name="connsiteY1" fmla="*/ 31837 h 1978729"/>
              <a:gd name="connsiteX2" fmla="*/ 2096914 w 2264976"/>
              <a:gd name="connsiteY2" fmla="*/ 100959 h 1978729"/>
              <a:gd name="connsiteX3" fmla="*/ 2128830 w 2264976"/>
              <a:gd name="connsiteY3" fmla="*/ 173625 h 1978729"/>
              <a:gd name="connsiteX4" fmla="*/ 2104007 w 2264976"/>
              <a:gd name="connsiteY4" fmla="*/ 334023 h 1978729"/>
              <a:gd name="connsiteX5" fmla="*/ 2126171 w 2264976"/>
              <a:gd name="connsiteY5" fmla="*/ 380104 h 1978729"/>
              <a:gd name="connsiteX6" fmla="*/ 2078297 w 2264976"/>
              <a:gd name="connsiteY6" fmla="*/ 535185 h 1978729"/>
              <a:gd name="connsiteX7" fmla="*/ 2043721 w 2264976"/>
              <a:gd name="connsiteY7" fmla="*/ 610510 h 1978729"/>
              <a:gd name="connsiteX8" fmla="*/ 2040175 w 2264976"/>
              <a:gd name="connsiteY8" fmla="*/ 653933 h 1978729"/>
              <a:gd name="connsiteX9" fmla="*/ 2070318 w 2264976"/>
              <a:gd name="connsiteY9" fmla="*/ 700014 h 1978729"/>
              <a:gd name="connsiteX10" fmla="*/ 2162519 w 2264976"/>
              <a:gd name="connsiteY10" fmla="*/ 727485 h 1978729"/>
              <a:gd name="connsiteX11" fmla="*/ 2236989 w 2264976"/>
              <a:gd name="connsiteY11" fmla="*/ 720396 h 1978729"/>
              <a:gd name="connsiteX12" fmla="*/ 2221918 w 2264976"/>
              <a:gd name="connsiteY12" fmla="*/ 804582 h 1978729"/>
              <a:gd name="connsiteX13" fmla="*/ 2263585 w 2264976"/>
              <a:gd name="connsiteY13" fmla="*/ 844460 h 1978729"/>
              <a:gd name="connsiteX14" fmla="*/ 2178477 w 2264976"/>
              <a:gd name="connsiteY14" fmla="*/ 1029671 h 1978729"/>
              <a:gd name="connsiteX15" fmla="*/ 2170498 w 2264976"/>
              <a:gd name="connsiteY15" fmla="*/ 1093476 h 1978729"/>
              <a:gd name="connsiteX16" fmla="*/ 2200641 w 2264976"/>
              <a:gd name="connsiteY16" fmla="*/ 1204248 h 1978729"/>
              <a:gd name="connsiteX17" fmla="*/ 2223691 w 2264976"/>
              <a:gd name="connsiteY17" fmla="*/ 1271597 h 1978729"/>
              <a:gd name="connsiteX18" fmla="*/ 2232556 w 2264976"/>
              <a:gd name="connsiteY18" fmla="*/ 1323881 h 1978729"/>
              <a:gd name="connsiteX19" fmla="*/ 2205073 w 2264976"/>
              <a:gd name="connsiteY19" fmla="*/ 1334516 h 1978729"/>
              <a:gd name="connsiteX20" fmla="*/ 1526863 w 2264976"/>
              <a:gd name="connsiteY20" fmla="*/ 1560490 h 1978729"/>
              <a:gd name="connsiteX21" fmla="*/ 2181137 w 2264976"/>
              <a:gd name="connsiteY21" fmla="*/ 1374393 h 1978729"/>
              <a:gd name="connsiteX22" fmla="*/ 2186456 w 2264976"/>
              <a:gd name="connsiteY22" fmla="*/ 1392117 h 1978729"/>
              <a:gd name="connsiteX23" fmla="*/ 2221918 w 2264976"/>
              <a:gd name="connsiteY23" fmla="*/ 1449718 h 1978729"/>
              <a:gd name="connsiteX24" fmla="*/ 2174931 w 2264976"/>
              <a:gd name="connsiteY24" fmla="*/ 1510865 h 1978729"/>
              <a:gd name="connsiteX25" fmla="*/ 2111985 w 2264976"/>
              <a:gd name="connsiteY25" fmla="*/ 1548084 h 1978729"/>
              <a:gd name="connsiteX26" fmla="*/ 2051700 w 2264976"/>
              <a:gd name="connsiteY26" fmla="*/ 1600368 h 1978729"/>
              <a:gd name="connsiteX27" fmla="*/ 1016211 w 2264976"/>
              <a:gd name="connsiteY27" fmla="*/ 1970790 h 1978729"/>
              <a:gd name="connsiteX28" fmla="*/ 902732 w 2264976"/>
              <a:gd name="connsiteY28" fmla="*/ 1976993 h 1978729"/>
              <a:gd name="connsiteX29" fmla="*/ 903619 w 2264976"/>
              <a:gd name="connsiteY29" fmla="*/ 1943318 h 1978729"/>
              <a:gd name="connsiteX30" fmla="*/ 856632 w 2264976"/>
              <a:gd name="connsiteY30" fmla="*/ 1924709 h 1978729"/>
              <a:gd name="connsiteX31" fmla="*/ 853972 w 2264976"/>
              <a:gd name="connsiteY31" fmla="*/ 1883945 h 1978729"/>
              <a:gd name="connsiteX32" fmla="*/ 688188 w 2264976"/>
              <a:gd name="connsiteY32" fmla="*/ 1927367 h 1978729"/>
              <a:gd name="connsiteX33" fmla="*/ 598646 w 2264976"/>
              <a:gd name="connsiteY33" fmla="*/ 1848497 h 1978729"/>
              <a:gd name="connsiteX34" fmla="*/ 550772 w 2264976"/>
              <a:gd name="connsiteY34" fmla="*/ 1773173 h 1978729"/>
              <a:gd name="connsiteX35" fmla="*/ 525062 w 2264976"/>
              <a:gd name="connsiteY35" fmla="*/ 1673921 h 1978729"/>
              <a:gd name="connsiteX36" fmla="*/ 416017 w 2264976"/>
              <a:gd name="connsiteY36" fmla="*/ 1688100 h 1978729"/>
              <a:gd name="connsiteX37" fmla="*/ 325589 w 2264976"/>
              <a:gd name="connsiteY37" fmla="*/ 1603027 h 1978729"/>
              <a:gd name="connsiteX38" fmla="*/ 178422 w 2264976"/>
              <a:gd name="connsiteY38" fmla="*/ 1569352 h 1978729"/>
              <a:gd name="connsiteX39" fmla="*/ 165123 w 2264976"/>
              <a:gd name="connsiteY39" fmla="*/ 1478076 h 1978729"/>
              <a:gd name="connsiteX40" fmla="*/ 105725 w 2264976"/>
              <a:gd name="connsiteY40" fmla="*/ 1450605 h 1978729"/>
              <a:gd name="connsiteX41" fmla="*/ 178422 w 2264976"/>
              <a:gd name="connsiteY41" fmla="*/ 1348694 h 1978729"/>
              <a:gd name="connsiteX42" fmla="*/ 177535 w 2264976"/>
              <a:gd name="connsiteY42" fmla="*/ 1347808 h 1978729"/>
              <a:gd name="connsiteX43" fmla="*/ 783048 w 2264976"/>
              <a:gd name="connsiteY43" fmla="*/ 1008403 h 1978729"/>
              <a:gd name="connsiteX44" fmla="*/ 159804 w 2264976"/>
              <a:gd name="connsiteY44" fmla="*/ 1322995 h 1978729"/>
              <a:gd name="connsiteX45" fmla="*/ 152712 w 2264976"/>
              <a:gd name="connsiteY45" fmla="*/ 1276914 h 1978729"/>
              <a:gd name="connsiteX46" fmla="*/ 117250 w 2264976"/>
              <a:gd name="connsiteY46" fmla="*/ 1222857 h 1978729"/>
              <a:gd name="connsiteX47" fmla="*/ 107498 w 2264976"/>
              <a:gd name="connsiteY47" fmla="*/ 1150191 h 1978729"/>
              <a:gd name="connsiteX48" fmla="*/ 57851 w 2264976"/>
              <a:gd name="connsiteY48" fmla="*/ 1126264 h 1978729"/>
              <a:gd name="connsiteX49" fmla="*/ 36574 w 2264976"/>
              <a:gd name="connsiteY49" fmla="*/ 1120947 h 1978729"/>
              <a:gd name="connsiteX50" fmla="*/ 22389 w 2264976"/>
              <a:gd name="connsiteY50" fmla="*/ 1011061 h 1978729"/>
              <a:gd name="connsiteX51" fmla="*/ 34801 w 2264976"/>
              <a:gd name="connsiteY51" fmla="*/ 929533 h 1978729"/>
              <a:gd name="connsiteX52" fmla="*/ 61397 w 2264976"/>
              <a:gd name="connsiteY52" fmla="*/ 854208 h 1978729"/>
              <a:gd name="connsiteX53" fmla="*/ 662478 w 2264976"/>
              <a:gd name="connsiteY53" fmla="*/ 393397 h 1978729"/>
              <a:gd name="connsiteX54" fmla="*/ 1833609 w 2264976"/>
              <a:gd name="connsiteY54" fmla="*/ 4366 h 1978729"/>
              <a:gd name="connsiteX55" fmla="*/ 1899543 w 2264976"/>
              <a:gd name="connsiteY55" fmla="*/ 240 h 1978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2264976" h="1978729">
                <a:moveTo>
                  <a:pt x="1899543" y="240"/>
                </a:moveTo>
                <a:cubicBezTo>
                  <a:pt x="2028872" y="-3250"/>
                  <a:pt x="1997843" y="32613"/>
                  <a:pt x="2042835" y="31837"/>
                </a:cubicBezTo>
                <a:cubicBezTo>
                  <a:pt x="2093368" y="30065"/>
                  <a:pt x="2128830" y="53992"/>
                  <a:pt x="2096914" y="100959"/>
                </a:cubicBezTo>
                <a:cubicBezTo>
                  <a:pt x="2065885" y="147926"/>
                  <a:pt x="2126171" y="155016"/>
                  <a:pt x="2128830" y="173625"/>
                </a:cubicBezTo>
                <a:cubicBezTo>
                  <a:pt x="2132376" y="192235"/>
                  <a:pt x="2144788" y="286170"/>
                  <a:pt x="2104007" y="334023"/>
                </a:cubicBezTo>
                <a:cubicBezTo>
                  <a:pt x="2063225" y="381877"/>
                  <a:pt x="2127057" y="346430"/>
                  <a:pt x="2126171" y="380104"/>
                </a:cubicBezTo>
                <a:cubicBezTo>
                  <a:pt x="2125284" y="413779"/>
                  <a:pt x="2111985" y="513917"/>
                  <a:pt x="2078297" y="535185"/>
                </a:cubicBezTo>
                <a:cubicBezTo>
                  <a:pt x="2044608" y="557339"/>
                  <a:pt x="2030423" y="601648"/>
                  <a:pt x="2043721" y="610510"/>
                </a:cubicBezTo>
                <a:cubicBezTo>
                  <a:pt x="2056133" y="618486"/>
                  <a:pt x="2077410" y="632664"/>
                  <a:pt x="2040175" y="653933"/>
                </a:cubicBezTo>
                <a:cubicBezTo>
                  <a:pt x="2003827" y="674315"/>
                  <a:pt x="1967478" y="743436"/>
                  <a:pt x="2070318" y="700014"/>
                </a:cubicBezTo>
                <a:cubicBezTo>
                  <a:pt x="2174044" y="656591"/>
                  <a:pt x="2144788" y="723941"/>
                  <a:pt x="2162519" y="727485"/>
                </a:cubicBezTo>
                <a:cubicBezTo>
                  <a:pt x="2180250" y="731916"/>
                  <a:pt x="2233443" y="709762"/>
                  <a:pt x="2236989" y="720396"/>
                </a:cubicBezTo>
                <a:cubicBezTo>
                  <a:pt x="2240535" y="730144"/>
                  <a:pt x="2212166" y="790404"/>
                  <a:pt x="2221918" y="804582"/>
                </a:cubicBezTo>
                <a:cubicBezTo>
                  <a:pt x="2230783" y="817875"/>
                  <a:pt x="2260926" y="799265"/>
                  <a:pt x="2263585" y="844460"/>
                </a:cubicBezTo>
                <a:cubicBezTo>
                  <a:pt x="2265359" y="889655"/>
                  <a:pt x="2268905" y="1002200"/>
                  <a:pt x="2178477" y="1029671"/>
                </a:cubicBezTo>
                <a:cubicBezTo>
                  <a:pt x="2178477" y="1029671"/>
                  <a:pt x="2152767" y="1057143"/>
                  <a:pt x="2170498" y="1093476"/>
                </a:cubicBezTo>
                <a:cubicBezTo>
                  <a:pt x="2187342" y="1128923"/>
                  <a:pt x="2223691" y="1147533"/>
                  <a:pt x="2200641" y="1204248"/>
                </a:cubicBezTo>
                <a:cubicBezTo>
                  <a:pt x="2176704" y="1260963"/>
                  <a:pt x="2217485" y="1271597"/>
                  <a:pt x="2223691" y="1271597"/>
                </a:cubicBezTo>
                <a:cubicBezTo>
                  <a:pt x="2229010" y="1271597"/>
                  <a:pt x="2307913" y="1302613"/>
                  <a:pt x="2232556" y="1323881"/>
                </a:cubicBezTo>
                <a:cubicBezTo>
                  <a:pt x="2221031" y="1327426"/>
                  <a:pt x="2212166" y="1330971"/>
                  <a:pt x="2205073" y="1334516"/>
                </a:cubicBezTo>
                <a:cubicBezTo>
                  <a:pt x="2205073" y="1334516"/>
                  <a:pt x="2205073" y="1334516"/>
                  <a:pt x="1526863" y="1560490"/>
                </a:cubicBezTo>
                <a:cubicBezTo>
                  <a:pt x="1526863" y="1560490"/>
                  <a:pt x="1526863" y="1560490"/>
                  <a:pt x="2181137" y="1374393"/>
                </a:cubicBezTo>
                <a:cubicBezTo>
                  <a:pt x="2182023" y="1384141"/>
                  <a:pt x="2186456" y="1392117"/>
                  <a:pt x="2186456" y="1392117"/>
                </a:cubicBezTo>
                <a:cubicBezTo>
                  <a:pt x="2186456" y="1392117"/>
                  <a:pt x="2228123" y="1420475"/>
                  <a:pt x="2221918" y="1449718"/>
                </a:cubicBezTo>
                <a:cubicBezTo>
                  <a:pt x="2214825" y="1478962"/>
                  <a:pt x="2174044" y="1470100"/>
                  <a:pt x="2174931" y="1510865"/>
                </a:cubicBezTo>
                <a:cubicBezTo>
                  <a:pt x="2176704" y="1551629"/>
                  <a:pt x="2148334" y="1529474"/>
                  <a:pt x="2111985" y="1548084"/>
                </a:cubicBezTo>
                <a:cubicBezTo>
                  <a:pt x="2074751" y="1565807"/>
                  <a:pt x="2117305" y="1573783"/>
                  <a:pt x="2051700" y="1600368"/>
                </a:cubicBezTo>
                <a:cubicBezTo>
                  <a:pt x="1985209" y="1626954"/>
                  <a:pt x="1016211" y="1970790"/>
                  <a:pt x="1016211" y="1970790"/>
                </a:cubicBezTo>
                <a:cubicBezTo>
                  <a:pt x="1016211" y="1970790"/>
                  <a:pt x="973656" y="1983196"/>
                  <a:pt x="902732" y="1976993"/>
                </a:cubicBezTo>
                <a:cubicBezTo>
                  <a:pt x="902732" y="1976993"/>
                  <a:pt x="888548" y="1964586"/>
                  <a:pt x="903619" y="1943318"/>
                </a:cubicBezTo>
                <a:cubicBezTo>
                  <a:pt x="918690" y="1922050"/>
                  <a:pt x="865497" y="1932684"/>
                  <a:pt x="856632" y="1924709"/>
                </a:cubicBezTo>
                <a:cubicBezTo>
                  <a:pt x="846880" y="1915847"/>
                  <a:pt x="867270" y="1906099"/>
                  <a:pt x="853972" y="1883945"/>
                </a:cubicBezTo>
                <a:cubicBezTo>
                  <a:pt x="840674" y="1861790"/>
                  <a:pt x="751133" y="1926481"/>
                  <a:pt x="688188" y="1927367"/>
                </a:cubicBezTo>
                <a:cubicBezTo>
                  <a:pt x="626129" y="1928253"/>
                  <a:pt x="598646" y="1848497"/>
                  <a:pt x="598646" y="1848497"/>
                </a:cubicBezTo>
                <a:cubicBezTo>
                  <a:pt x="598646" y="1848497"/>
                  <a:pt x="616377" y="1795327"/>
                  <a:pt x="550772" y="1773173"/>
                </a:cubicBezTo>
                <a:cubicBezTo>
                  <a:pt x="486054" y="1751018"/>
                  <a:pt x="533041" y="1694303"/>
                  <a:pt x="525062" y="1673921"/>
                </a:cubicBezTo>
                <a:cubicBezTo>
                  <a:pt x="516197" y="1654425"/>
                  <a:pt x="493147" y="1703165"/>
                  <a:pt x="416017" y="1688100"/>
                </a:cubicBezTo>
                <a:cubicBezTo>
                  <a:pt x="338887" y="1673035"/>
                  <a:pt x="306085" y="1685441"/>
                  <a:pt x="325589" y="1603027"/>
                </a:cubicBezTo>
                <a:cubicBezTo>
                  <a:pt x="325589" y="1603027"/>
                  <a:pt x="220089" y="1609230"/>
                  <a:pt x="178422" y="1569352"/>
                </a:cubicBezTo>
                <a:cubicBezTo>
                  <a:pt x="136754" y="1530360"/>
                  <a:pt x="179308" y="1516182"/>
                  <a:pt x="165123" y="1478076"/>
                </a:cubicBezTo>
                <a:cubicBezTo>
                  <a:pt x="150052" y="1439970"/>
                  <a:pt x="120796" y="1487824"/>
                  <a:pt x="105725" y="1450605"/>
                </a:cubicBezTo>
                <a:cubicBezTo>
                  <a:pt x="90653" y="1413385"/>
                  <a:pt x="178422" y="1348694"/>
                  <a:pt x="178422" y="1348694"/>
                </a:cubicBezTo>
                <a:cubicBezTo>
                  <a:pt x="178422" y="1348694"/>
                  <a:pt x="178422" y="1348694"/>
                  <a:pt x="177535" y="1347808"/>
                </a:cubicBezTo>
                <a:cubicBezTo>
                  <a:pt x="177535" y="1347808"/>
                  <a:pt x="177535" y="1347808"/>
                  <a:pt x="783048" y="1008403"/>
                </a:cubicBezTo>
                <a:cubicBezTo>
                  <a:pt x="783048" y="1008403"/>
                  <a:pt x="783048" y="1008403"/>
                  <a:pt x="159804" y="1322995"/>
                </a:cubicBezTo>
                <a:cubicBezTo>
                  <a:pt x="152712" y="1310589"/>
                  <a:pt x="147392" y="1293752"/>
                  <a:pt x="152712" y="1276914"/>
                </a:cubicBezTo>
                <a:cubicBezTo>
                  <a:pt x="165123" y="1241467"/>
                  <a:pt x="158918" y="1227288"/>
                  <a:pt x="117250" y="1222857"/>
                </a:cubicBezTo>
                <a:cubicBezTo>
                  <a:pt x="75582" y="1218427"/>
                  <a:pt x="75582" y="1179435"/>
                  <a:pt x="107498" y="1150191"/>
                </a:cubicBezTo>
                <a:cubicBezTo>
                  <a:pt x="140300" y="1120947"/>
                  <a:pt x="80015" y="1130695"/>
                  <a:pt x="57851" y="1126264"/>
                </a:cubicBezTo>
                <a:cubicBezTo>
                  <a:pt x="36574" y="1120947"/>
                  <a:pt x="36574" y="1120947"/>
                  <a:pt x="36574" y="1120947"/>
                </a:cubicBezTo>
                <a:cubicBezTo>
                  <a:pt x="36574" y="1120947"/>
                  <a:pt x="-35237" y="1079297"/>
                  <a:pt x="22389" y="1011061"/>
                </a:cubicBezTo>
                <a:cubicBezTo>
                  <a:pt x="22389" y="1011061"/>
                  <a:pt x="1112" y="959663"/>
                  <a:pt x="34801" y="929533"/>
                </a:cubicBezTo>
                <a:cubicBezTo>
                  <a:pt x="68490" y="900289"/>
                  <a:pt x="48099" y="873704"/>
                  <a:pt x="61397" y="854208"/>
                </a:cubicBezTo>
                <a:cubicBezTo>
                  <a:pt x="74695" y="834712"/>
                  <a:pt x="171329" y="659250"/>
                  <a:pt x="662478" y="393397"/>
                </a:cubicBezTo>
                <a:cubicBezTo>
                  <a:pt x="1152739" y="127544"/>
                  <a:pt x="1627043" y="22976"/>
                  <a:pt x="1833609" y="4366"/>
                </a:cubicBezTo>
                <a:cubicBezTo>
                  <a:pt x="1859319" y="2040"/>
                  <a:pt x="1881067" y="738"/>
                  <a:pt x="1899543" y="240"/>
                </a:cubicBezTo>
                <a:close/>
              </a:path>
            </a:pathLst>
          </a:custGeo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None/>
              <a:defRPr sz="1400"/>
            </a:lvl1pPr>
          </a:lstStyle>
          <a:p>
            <a:r>
              <a:rPr lang="en-US" dirty="0"/>
              <a:t>Picture </a:t>
            </a:r>
          </a:p>
        </p:txBody>
      </p:sp>
      <p:sp>
        <p:nvSpPr>
          <p:cNvPr id="8" name="Picture Placeholder 24"/>
          <p:cNvSpPr>
            <a:spLocks noGrp="1"/>
          </p:cNvSpPr>
          <p:nvPr>
            <p:ph type="pic" sz="quarter" idx="16" hasCustomPrompt="1"/>
          </p:nvPr>
        </p:nvSpPr>
        <p:spPr>
          <a:xfrm>
            <a:off x="9043881" y="2286642"/>
            <a:ext cx="2264976" cy="1978729"/>
          </a:xfrm>
          <a:custGeom>
            <a:avLst/>
            <a:gdLst>
              <a:gd name="connsiteX0" fmla="*/ 1899543 w 2264976"/>
              <a:gd name="connsiteY0" fmla="*/ 240 h 1978729"/>
              <a:gd name="connsiteX1" fmla="*/ 2042835 w 2264976"/>
              <a:gd name="connsiteY1" fmla="*/ 31837 h 1978729"/>
              <a:gd name="connsiteX2" fmla="*/ 2096914 w 2264976"/>
              <a:gd name="connsiteY2" fmla="*/ 100959 h 1978729"/>
              <a:gd name="connsiteX3" fmla="*/ 2128830 w 2264976"/>
              <a:gd name="connsiteY3" fmla="*/ 173625 h 1978729"/>
              <a:gd name="connsiteX4" fmla="*/ 2104007 w 2264976"/>
              <a:gd name="connsiteY4" fmla="*/ 334023 h 1978729"/>
              <a:gd name="connsiteX5" fmla="*/ 2126171 w 2264976"/>
              <a:gd name="connsiteY5" fmla="*/ 380104 h 1978729"/>
              <a:gd name="connsiteX6" fmla="*/ 2078297 w 2264976"/>
              <a:gd name="connsiteY6" fmla="*/ 535185 h 1978729"/>
              <a:gd name="connsiteX7" fmla="*/ 2043721 w 2264976"/>
              <a:gd name="connsiteY7" fmla="*/ 610510 h 1978729"/>
              <a:gd name="connsiteX8" fmla="*/ 2040175 w 2264976"/>
              <a:gd name="connsiteY8" fmla="*/ 653933 h 1978729"/>
              <a:gd name="connsiteX9" fmla="*/ 2070318 w 2264976"/>
              <a:gd name="connsiteY9" fmla="*/ 700014 h 1978729"/>
              <a:gd name="connsiteX10" fmla="*/ 2162519 w 2264976"/>
              <a:gd name="connsiteY10" fmla="*/ 727485 h 1978729"/>
              <a:gd name="connsiteX11" fmla="*/ 2236989 w 2264976"/>
              <a:gd name="connsiteY11" fmla="*/ 720396 h 1978729"/>
              <a:gd name="connsiteX12" fmla="*/ 2221918 w 2264976"/>
              <a:gd name="connsiteY12" fmla="*/ 804582 h 1978729"/>
              <a:gd name="connsiteX13" fmla="*/ 2263585 w 2264976"/>
              <a:gd name="connsiteY13" fmla="*/ 844460 h 1978729"/>
              <a:gd name="connsiteX14" fmla="*/ 2178477 w 2264976"/>
              <a:gd name="connsiteY14" fmla="*/ 1029671 h 1978729"/>
              <a:gd name="connsiteX15" fmla="*/ 2170498 w 2264976"/>
              <a:gd name="connsiteY15" fmla="*/ 1093476 h 1978729"/>
              <a:gd name="connsiteX16" fmla="*/ 2200641 w 2264976"/>
              <a:gd name="connsiteY16" fmla="*/ 1204248 h 1978729"/>
              <a:gd name="connsiteX17" fmla="*/ 2223691 w 2264976"/>
              <a:gd name="connsiteY17" fmla="*/ 1271597 h 1978729"/>
              <a:gd name="connsiteX18" fmla="*/ 2232556 w 2264976"/>
              <a:gd name="connsiteY18" fmla="*/ 1323881 h 1978729"/>
              <a:gd name="connsiteX19" fmla="*/ 2205073 w 2264976"/>
              <a:gd name="connsiteY19" fmla="*/ 1334516 h 1978729"/>
              <a:gd name="connsiteX20" fmla="*/ 1526863 w 2264976"/>
              <a:gd name="connsiteY20" fmla="*/ 1560490 h 1978729"/>
              <a:gd name="connsiteX21" fmla="*/ 2181137 w 2264976"/>
              <a:gd name="connsiteY21" fmla="*/ 1374393 h 1978729"/>
              <a:gd name="connsiteX22" fmla="*/ 2186456 w 2264976"/>
              <a:gd name="connsiteY22" fmla="*/ 1392117 h 1978729"/>
              <a:gd name="connsiteX23" fmla="*/ 2221918 w 2264976"/>
              <a:gd name="connsiteY23" fmla="*/ 1449718 h 1978729"/>
              <a:gd name="connsiteX24" fmla="*/ 2174931 w 2264976"/>
              <a:gd name="connsiteY24" fmla="*/ 1510865 h 1978729"/>
              <a:gd name="connsiteX25" fmla="*/ 2111985 w 2264976"/>
              <a:gd name="connsiteY25" fmla="*/ 1548084 h 1978729"/>
              <a:gd name="connsiteX26" fmla="*/ 2051700 w 2264976"/>
              <a:gd name="connsiteY26" fmla="*/ 1600368 h 1978729"/>
              <a:gd name="connsiteX27" fmla="*/ 1016211 w 2264976"/>
              <a:gd name="connsiteY27" fmla="*/ 1970790 h 1978729"/>
              <a:gd name="connsiteX28" fmla="*/ 902732 w 2264976"/>
              <a:gd name="connsiteY28" fmla="*/ 1976993 h 1978729"/>
              <a:gd name="connsiteX29" fmla="*/ 903619 w 2264976"/>
              <a:gd name="connsiteY29" fmla="*/ 1943318 h 1978729"/>
              <a:gd name="connsiteX30" fmla="*/ 856632 w 2264976"/>
              <a:gd name="connsiteY30" fmla="*/ 1924709 h 1978729"/>
              <a:gd name="connsiteX31" fmla="*/ 853972 w 2264976"/>
              <a:gd name="connsiteY31" fmla="*/ 1883945 h 1978729"/>
              <a:gd name="connsiteX32" fmla="*/ 688187 w 2264976"/>
              <a:gd name="connsiteY32" fmla="*/ 1927367 h 1978729"/>
              <a:gd name="connsiteX33" fmla="*/ 598646 w 2264976"/>
              <a:gd name="connsiteY33" fmla="*/ 1848497 h 1978729"/>
              <a:gd name="connsiteX34" fmla="*/ 550772 w 2264976"/>
              <a:gd name="connsiteY34" fmla="*/ 1773173 h 1978729"/>
              <a:gd name="connsiteX35" fmla="*/ 525062 w 2264976"/>
              <a:gd name="connsiteY35" fmla="*/ 1673921 h 1978729"/>
              <a:gd name="connsiteX36" fmla="*/ 416017 w 2264976"/>
              <a:gd name="connsiteY36" fmla="*/ 1688100 h 1978729"/>
              <a:gd name="connsiteX37" fmla="*/ 325589 w 2264976"/>
              <a:gd name="connsiteY37" fmla="*/ 1603027 h 1978729"/>
              <a:gd name="connsiteX38" fmla="*/ 178421 w 2264976"/>
              <a:gd name="connsiteY38" fmla="*/ 1569352 h 1978729"/>
              <a:gd name="connsiteX39" fmla="*/ 165123 w 2264976"/>
              <a:gd name="connsiteY39" fmla="*/ 1478076 h 1978729"/>
              <a:gd name="connsiteX40" fmla="*/ 105724 w 2264976"/>
              <a:gd name="connsiteY40" fmla="*/ 1450605 h 1978729"/>
              <a:gd name="connsiteX41" fmla="*/ 178421 w 2264976"/>
              <a:gd name="connsiteY41" fmla="*/ 1348694 h 1978729"/>
              <a:gd name="connsiteX42" fmla="*/ 177535 w 2264976"/>
              <a:gd name="connsiteY42" fmla="*/ 1347808 h 1978729"/>
              <a:gd name="connsiteX43" fmla="*/ 783048 w 2264976"/>
              <a:gd name="connsiteY43" fmla="*/ 1008403 h 1978729"/>
              <a:gd name="connsiteX44" fmla="*/ 159804 w 2264976"/>
              <a:gd name="connsiteY44" fmla="*/ 1322995 h 1978729"/>
              <a:gd name="connsiteX45" fmla="*/ 152711 w 2264976"/>
              <a:gd name="connsiteY45" fmla="*/ 1276914 h 1978729"/>
              <a:gd name="connsiteX46" fmla="*/ 117249 w 2264976"/>
              <a:gd name="connsiteY46" fmla="*/ 1222857 h 1978729"/>
              <a:gd name="connsiteX47" fmla="*/ 107497 w 2264976"/>
              <a:gd name="connsiteY47" fmla="*/ 1150191 h 1978729"/>
              <a:gd name="connsiteX48" fmla="*/ 57851 w 2264976"/>
              <a:gd name="connsiteY48" fmla="*/ 1126264 h 1978729"/>
              <a:gd name="connsiteX49" fmla="*/ 36573 w 2264976"/>
              <a:gd name="connsiteY49" fmla="*/ 1120947 h 1978729"/>
              <a:gd name="connsiteX50" fmla="*/ 22389 w 2264976"/>
              <a:gd name="connsiteY50" fmla="*/ 1011061 h 1978729"/>
              <a:gd name="connsiteX51" fmla="*/ 34800 w 2264976"/>
              <a:gd name="connsiteY51" fmla="*/ 929533 h 1978729"/>
              <a:gd name="connsiteX52" fmla="*/ 61397 w 2264976"/>
              <a:gd name="connsiteY52" fmla="*/ 854208 h 1978729"/>
              <a:gd name="connsiteX53" fmla="*/ 662477 w 2264976"/>
              <a:gd name="connsiteY53" fmla="*/ 393397 h 1978729"/>
              <a:gd name="connsiteX54" fmla="*/ 1833609 w 2264976"/>
              <a:gd name="connsiteY54" fmla="*/ 4366 h 1978729"/>
              <a:gd name="connsiteX55" fmla="*/ 1899543 w 2264976"/>
              <a:gd name="connsiteY55" fmla="*/ 240 h 1978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2264976" h="1978729">
                <a:moveTo>
                  <a:pt x="1899543" y="240"/>
                </a:moveTo>
                <a:cubicBezTo>
                  <a:pt x="2028872" y="-3250"/>
                  <a:pt x="1997843" y="32613"/>
                  <a:pt x="2042835" y="31837"/>
                </a:cubicBezTo>
                <a:cubicBezTo>
                  <a:pt x="2093368" y="30065"/>
                  <a:pt x="2128830" y="53992"/>
                  <a:pt x="2096914" y="100959"/>
                </a:cubicBezTo>
                <a:cubicBezTo>
                  <a:pt x="2065885" y="147926"/>
                  <a:pt x="2126171" y="155016"/>
                  <a:pt x="2128830" y="173625"/>
                </a:cubicBezTo>
                <a:cubicBezTo>
                  <a:pt x="2132376" y="192235"/>
                  <a:pt x="2144788" y="286170"/>
                  <a:pt x="2104007" y="334023"/>
                </a:cubicBezTo>
                <a:cubicBezTo>
                  <a:pt x="2063225" y="381877"/>
                  <a:pt x="2127057" y="346430"/>
                  <a:pt x="2126171" y="380104"/>
                </a:cubicBezTo>
                <a:cubicBezTo>
                  <a:pt x="2125284" y="413779"/>
                  <a:pt x="2111985" y="513917"/>
                  <a:pt x="2078297" y="535185"/>
                </a:cubicBezTo>
                <a:cubicBezTo>
                  <a:pt x="2044608" y="557339"/>
                  <a:pt x="2030423" y="601648"/>
                  <a:pt x="2043721" y="610510"/>
                </a:cubicBezTo>
                <a:cubicBezTo>
                  <a:pt x="2056133" y="618486"/>
                  <a:pt x="2077410" y="632664"/>
                  <a:pt x="2040175" y="653933"/>
                </a:cubicBezTo>
                <a:cubicBezTo>
                  <a:pt x="2003827" y="674315"/>
                  <a:pt x="1967478" y="743436"/>
                  <a:pt x="2070318" y="700014"/>
                </a:cubicBezTo>
                <a:cubicBezTo>
                  <a:pt x="2174044" y="656591"/>
                  <a:pt x="2144788" y="723941"/>
                  <a:pt x="2162519" y="727485"/>
                </a:cubicBezTo>
                <a:cubicBezTo>
                  <a:pt x="2180250" y="731916"/>
                  <a:pt x="2233443" y="709762"/>
                  <a:pt x="2236989" y="720396"/>
                </a:cubicBezTo>
                <a:cubicBezTo>
                  <a:pt x="2240535" y="730144"/>
                  <a:pt x="2212166" y="790404"/>
                  <a:pt x="2221918" y="804582"/>
                </a:cubicBezTo>
                <a:cubicBezTo>
                  <a:pt x="2230783" y="817875"/>
                  <a:pt x="2260926" y="799265"/>
                  <a:pt x="2263585" y="844460"/>
                </a:cubicBezTo>
                <a:cubicBezTo>
                  <a:pt x="2265359" y="889655"/>
                  <a:pt x="2268905" y="1002200"/>
                  <a:pt x="2178477" y="1029671"/>
                </a:cubicBezTo>
                <a:cubicBezTo>
                  <a:pt x="2178477" y="1029671"/>
                  <a:pt x="2152767" y="1057143"/>
                  <a:pt x="2170498" y="1093476"/>
                </a:cubicBezTo>
                <a:cubicBezTo>
                  <a:pt x="2187342" y="1128923"/>
                  <a:pt x="2223691" y="1147533"/>
                  <a:pt x="2200641" y="1204248"/>
                </a:cubicBezTo>
                <a:cubicBezTo>
                  <a:pt x="2176704" y="1260963"/>
                  <a:pt x="2217485" y="1271597"/>
                  <a:pt x="2223691" y="1271597"/>
                </a:cubicBezTo>
                <a:cubicBezTo>
                  <a:pt x="2229010" y="1271597"/>
                  <a:pt x="2307913" y="1302613"/>
                  <a:pt x="2232556" y="1323881"/>
                </a:cubicBezTo>
                <a:cubicBezTo>
                  <a:pt x="2221031" y="1327426"/>
                  <a:pt x="2212166" y="1330971"/>
                  <a:pt x="2205073" y="1334516"/>
                </a:cubicBezTo>
                <a:cubicBezTo>
                  <a:pt x="2205073" y="1334516"/>
                  <a:pt x="2205073" y="1334516"/>
                  <a:pt x="1526863" y="1560490"/>
                </a:cubicBezTo>
                <a:cubicBezTo>
                  <a:pt x="1526863" y="1560490"/>
                  <a:pt x="1526863" y="1560490"/>
                  <a:pt x="2181137" y="1374393"/>
                </a:cubicBezTo>
                <a:cubicBezTo>
                  <a:pt x="2182023" y="1384141"/>
                  <a:pt x="2186456" y="1392117"/>
                  <a:pt x="2186456" y="1392117"/>
                </a:cubicBezTo>
                <a:cubicBezTo>
                  <a:pt x="2186456" y="1392117"/>
                  <a:pt x="2228123" y="1420475"/>
                  <a:pt x="2221918" y="1449718"/>
                </a:cubicBezTo>
                <a:cubicBezTo>
                  <a:pt x="2214825" y="1478962"/>
                  <a:pt x="2174044" y="1470100"/>
                  <a:pt x="2174931" y="1510865"/>
                </a:cubicBezTo>
                <a:cubicBezTo>
                  <a:pt x="2176704" y="1551629"/>
                  <a:pt x="2148334" y="1529474"/>
                  <a:pt x="2111985" y="1548084"/>
                </a:cubicBezTo>
                <a:cubicBezTo>
                  <a:pt x="2074751" y="1565807"/>
                  <a:pt x="2117305" y="1573783"/>
                  <a:pt x="2051700" y="1600368"/>
                </a:cubicBezTo>
                <a:cubicBezTo>
                  <a:pt x="1985209" y="1626954"/>
                  <a:pt x="1016211" y="1970790"/>
                  <a:pt x="1016211" y="1970790"/>
                </a:cubicBezTo>
                <a:cubicBezTo>
                  <a:pt x="1016211" y="1970790"/>
                  <a:pt x="973656" y="1983196"/>
                  <a:pt x="902732" y="1976993"/>
                </a:cubicBezTo>
                <a:cubicBezTo>
                  <a:pt x="902732" y="1976993"/>
                  <a:pt x="888547" y="1964586"/>
                  <a:pt x="903619" y="1943318"/>
                </a:cubicBezTo>
                <a:cubicBezTo>
                  <a:pt x="918690" y="1922050"/>
                  <a:pt x="865497" y="1932684"/>
                  <a:pt x="856632" y="1924709"/>
                </a:cubicBezTo>
                <a:cubicBezTo>
                  <a:pt x="846880" y="1915847"/>
                  <a:pt x="867270" y="1906099"/>
                  <a:pt x="853972" y="1883945"/>
                </a:cubicBezTo>
                <a:cubicBezTo>
                  <a:pt x="840674" y="1861790"/>
                  <a:pt x="751132" y="1926481"/>
                  <a:pt x="688187" y="1927367"/>
                </a:cubicBezTo>
                <a:cubicBezTo>
                  <a:pt x="626129" y="1928253"/>
                  <a:pt x="598646" y="1848497"/>
                  <a:pt x="598646" y="1848497"/>
                </a:cubicBezTo>
                <a:cubicBezTo>
                  <a:pt x="598646" y="1848497"/>
                  <a:pt x="616377" y="1795327"/>
                  <a:pt x="550772" y="1773173"/>
                </a:cubicBezTo>
                <a:cubicBezTo>
                  <a:pt x="486054" y="1751018"/>
                  <a:pt x="533041" y="1694303"/>
                  <a:pt x="525062" y="1673921"/>
                </a:cubicBezTo>
                <a:cubicBezTo>
                  <a:pt x="516197" y="1654425"/>
                  <a:pt x="493146" y="1703165"/>
                  <a:pt x="416017" y="1688100"/>
                </a:cubicBezTo>
                <a:cubicBezTo>
                  <a:pt x="338887" y="1673035"/>
                  <a:pt x="306085" y="1685441"/>
                  <a:pt x="325589" y="1603027"/>
                </a:cubicBezTo>
                <a:cubicBezTo>
                  <a:pt x="325589" y="1603027"/>
                  <a:pt x="220089" y="1609230"/>
                  <a:pt x="178421" y="1569352"/>
                </a:cubicBezTo>
                <a:cubicBezTo>
                  <a:pt x="136754" y="1530360"/>
                  <a:pt x="179308" y="1516182"/>
                  <a:pt x="165123" y="1478076"/>
                </a:cubicBezTo>
                <a:cubicBezTo>
                  <a:pt x="150052" y="1439970"/>
                  <a:pt x="120796" y="1487824"/>
                  <a:pt x="105724" y="1450605"/>
                </a:cubicBezTo>
                <a:cubicBezTo>
                  <a:pt x="90653" y="1413385"/>
                  <a:pt x="178421" y="1348694"/>
                  <a:pt x="178421" y="1348694"/>
                </a:cubicBezTo>
                <a:cubicBezTo>
                  <a:pt x="178421" y="1348694"/>
                  <a:pt x="178421" y="1348694"/>
                  <a:pt x="177535" y="1347808"/>
                </a:cubicBezTo>
                <a:cubicBezTo>
                  <a:pt x="177535" y="1347808"/>
                  <a:pt x="177535" y="1347808"/>
                  <a:pt x="783048" y="1008403"/>
                </a:cubicBezTo>
                <a:cubicBezTo>
                  <a:pt x="783048" y="1008403"/>
                  <a:pt x="783048" y="1008403"/>
                  <a:pt x="159804" y="1322995"/>
                </a:cubicBezTo>
                <a:cubicBezTo>
                  <a:pt x="152711" y="1310589"/>
                  <a:pt x="147392" y="1293752"/>
                  <a:pt x="152711" y="1276914"/>
                </a:cubicBezTo>
                <a:cubicBezTo>
                  <a:pt x="165123" y="1241467"/>
                  <a:pt x="158917" y="1227288"/>
                  <a:pt x="117249" y="1222857"/>
                </a:cubicBezTo>
                <a:cubicBezTo>
                  <a:pt x="75582" y="1218427"/>
                  <a:pt x="75582" y="1179435"/>
                  <a:pt x="107497" y="1150191"/>
                </a:cubicBezTo>
                <a:cubicBezTo>
                  <a:pt x="140300" y="1120947"/>
                  <a:pt x="80014" y="1130695"/>
                  <a:pt x="57851" y="1126264"/>
                </a:cubicBezTo>
                <a:cubicBezTo>
                  <a:pt x="36573" y="1120947"/>
                  <a:pt x="36573" y="1120947"/>
                  <a:pt x="36573" y="1120947"/>
                </a:cubicBezTo>
                <a:cubicBezTo>
                  <a:pt x="36573" y="1120947"/>
                  <a:pt x="-35237" y="1079297"/>
                  <a:pt x="22389" y="1011061"/>
                </a:cubicBezTo>
                <a:cubicBezTo>
                  <a:pt x="22389" y="1011061"/>
                  <a:pt x="1112" y="959663"/>
                  <a:pt x="34800" y="929533"/>
                </a:cubicBezTo>
                <a:cubicBezTo>
                  <a:pt x="68489" y="900289"/>
                  <a:pt x="48099" y="873704"/>
                  <a:pt x="61397" y="854208"/>
                </a:cubicBezTo>
                <a:cubicBezTo>
                  <a:pt x="74695" y="834712"/>
                  <a:pt x="171329" y="659250"/>
                  <a:pt x="662477" y="393397"/>
                </a:cubicBezTo>
                <a:cubicBezTo>
                  <a:pt x="1152739" y="127544"/>
                  <a:pt x="1627043" y="22976"/>
                  <a:pt x="1833609" y="4366"/>
                </a:cubicBezTo>
                <a:cubicBezTo>
                  <a:pt x="1859319" y="2040"/>
                  <a:pt x="1881067" y="738"/>
                  <a:pt x="1899543" y="240"/>
                </a:cubicBezTo>
                <a:close/>
              </a:path>
            </a:pathLst>
          </a:custGeo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None/>
              <a:defRPr sz="1400"/>
            </a:lvl1pPr>
          </a:lstStyle>
          <a:p>
            <a:r>
              <a:rPr lang="en-US" dirty="0"/>
              <a:t>Picture </a:t>
            </a:r>
          </a:p>
        </p:txBody>
      </p:sp>
    </p:spTree>
    <p:extLst>
      <p:ext uri="{BB962C8B-B14F-4D97-AF65-F5344CB8AC3E}">
        <p14:creationId xmlns:p14="http://schemas.microsoft.com/office/powerpoint/2010/main" val="13691999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8051800" y="0"/>
            <a:ext cx="4140200" cy="6858000"/>
          </a:xfr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US" dirty="0"/>
              <a:t>Picture 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2962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5383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4103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6755317" y="295275"/>
            <a:ext cx="5132541" cy="6562725"/>
          </a:xfr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US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7377526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3"/>
          </p:nvPr>
        </p:nvSpPr>
        <p:spPr>
          <a:xfrm>
            <a:off x="267487" y="396159"/>
            <a:ext cx="1488560" cy="1300939"/>
          </a:xfrm>
          <a:custGeom>
            <a:avLst/>
            <a:gdLst>
              <a:gd name="connsiteX0" fmla="*/ 1248320 w 1488560"/>
              <a:gd name="connsiteY0" fmla="*/ 135 h 1300939"/>
              <a:gd name="connsiteX1" fmla="*/ 1342137 w 1488560"/>
              <a:gd name="connsiteY1" fmla="*/ 20542 h 1300939"/>
              <a:gd name="connsiteX2" fmla="*/ 1378361 w 1488560"/>
              <a:gd name="connsiteY2" fmla="*/ 66009 h 1300939"/>
              <a:gd name="connsiteX3" fmla="*/ 1398959 w 1488560"/>
              <a:gd name="connsiteY3" fmla="*/ 113607 h 1300939"/>
              <a:gd name="connsiteX4" fmla="*/ 1382622 w 1488560"/>
              <a:gd name="connsiteY4" fmla="*/ 219460 h 1300939"/>
              <a:gd name="connsiteX5" fmla="*/ 1396828 w 1488560"/>
              <a:gd name="connsiteY5" fmla="*/ 250009 h 1300939"/>
              <a:gd name="connsiteX6" fmla="*/ 1365576 w 1488560"/>
              <a:gd name="connsiteY6" fmla="*/ 352309 h 1300939"/>
              <a:gd name="connsiteX7" fmla="*/ 1342847 w 1488560"/>
              <a:gd name="connsiteY7" fmla="*/ 401329 h 1300939"/>
              <a:gd name="connsiteX8" fmla="*/ 1340716 w 1488560"/>
              <a:gd name="connsiteY8" fmla="*/ 429746 h 1300939"/>
              <a:gd name="connsiteX9" fmla="*/ 1360604 w 1488560"/>
              <a:gd name="connsiteY9" fmla="*/ 460294 h 1300939"/>
              <a:gd name="connsiteX10" fmla="*/ 1420977 w 1488560"/>
              <a:gd name="connsiteY10" fmla="*/ 478765 h 1300939"/>
              <a:gd name="connsiteX11" fmla="*/ 1469986 w 1488560"/>
              <a:gd name="connsiteY11" fmla="*/ 473081 h 1300939"/>
              <a:gd name="connsiteX12" fmla="*/ 1460042 w 1488560"/>
              <a:gd name="connsiteY12" fmla="*/ 528494 h 1300939"/>
              <a:gd name="connsiteX13" fmla="*/ 1487033 w 1488560"/>
              <a:gd name="connsiteY13" fmla="*/ 554780 h 1300939"/>
              <a:gd name="connsiteX14" fmla="*/ 1431631 w 1488560"/>
              <a:gd name="connsiteY14" fmla="*/ 676973 h 1300939"/>
              <a:gd name="connsiteX15" fmla="*/ 1425949 w 1488560"/>
              <a:gd name="connsiteY15" fmla="*/ 718888 h 1300939"/>
              <a:gd name="connsiteX16" fmla="*/ 1445837 w 1488560"/>
              <a:gd name="connsiteY16" fmla="*/ 791351 h 1300939"/>
              <a:gd name="connsiteX17" fmla="*/ 1460752 w 1488560"/>
              <a:gd name="connsiteY17" fmla="*/ 835397 h 1300939"/>
              <a:gd name="connsiteX18" fmla="*/ 1467145 w 1488560"/>
              <a:gd name="connsiteY18" fmla="*/ 870208 h 1300939"/>
              <a:gd name="connsiteX19" fmla="*/ 1436603 w 1488560"/>
              <a:gd name="connsiteY19" fmla="*/ 914965 h 1300939"/>
              <a:gd name="connsiteX20" fmla="*/ 1460042 w 1488560"/>
              <a:gd name="connsiteY20" fmla="*/ 953328 h 1300939"/>
              <a:gd name="connsiteX21" fmla="*/ 1429500 w 1488560"/>
              <a:gd name="connsiteY21" fmla="*/ 993111 h 1300939"/>
              <a:gd name="connsiteX22" fmla="*/ 1387594 w 1488560"/>
              <a:gd name="connsiteY22" fmla="*/ 1017266 h 1300939"/>
              <a:gd name="connsiteX23" fmla="*/ 1347819 w 1488560"/>
              <a:gd name="connsiteY23" fmla="*/ 1052076 h 1300939"/>
              <a:gd name="connsiteX24" fmla="*/ 668086 w 1488560"/>
              <a:gd name="connsiteY24" fmla="*/ 1295752 h 1300939"/>
              <a:gd name="connsiteX25" fmla="*/ 593507 w 1488560"/>
              <a:gd name="connsiteY25" fmla="*/ 1300014 h 1300939"/>
              <a:gd name="connsiteX26" fmla="*/ 593507 w 1488560"/>
              <a:gd name="connsiteY26" fmla="*/ 1277281 h 1300939"/>
              <a:gd name="connsiteX27" fmla="*/ 562965 w 1488560"/>
              <a:gd name="connsiteY27" fmla="*/ 1265203 h 1300939"/>
              <a:gd name="connsiteX28" fmla="*/ 561544 w 1488560"/>
              <a:gd name="connsiteY28" fmla="*/ 1238207 h 1300939"/>
              <a:gd name="connsiteX29" fmla="*/ 452162 w 1488560"/>
              <a:gd name="connsiteY29" fmla="*/ 1266624 h 1300939"/>
              <a:gd name="connsiteX30" fmla="*/ 393209 w 1488560"/>
              <a:gd name="connsiteY30" fmla="*/ 1215474 h 1300939"/>
              <a:gd name="connsiteX31" fmla="*/ 361957 w 1488560"/>
              <a:gd name="connsiteY31" fmla="*/ 1165744 h 1300939"/>
              <a:gd name="connsiteX32" fmla="*/ 344911 w 1488560"/>
              <a:gd name="connsiteY32" fmla="*/ 1100385 h 1300939"/>
              <a:gd name="connsiteX33" fmla="*/ 273883 w 1488560"/>
              <a:gd name="connsiteY33" fmla="*/ 1109621 h 1300939"/>
              <a:gd name="connsiteX34" fmla="*/ 214220 w 1488560"/>
              <a:gd name="connsiteY34" fmla="*/ 1054208 h 1300939"/>
              <a:gd name="connsiteX35" fmla="*/ 117623 w 1488560"/>
              <a:gd name="connsiteY35" fmla="*/ 1032185 h 1300939"/>
              <a:gd name="connsiteX36" fmla="*/ 108389 w 1488560"/>
              <a:gd name="connsiteY36" fmla="*/ 971799 h 1300939"/>
              <a:gd name="connsiteX37" fmla="*/ 69324 w 1488560"/>
              <a:gd name="connsiteY37" fmla="*/ 953328 h 1300939"/>
              <a:gd name="connsiteX38" fmla="*/ 117623 w 1488560"/>
              <a:gd name="connsiteY38" fmla="*/ 886548 h 1300939"/>
              <a:gd name="connsiteX39" fmla="*/ 100576 w 1488560"/>
              <a:gd name="connsiteY39" fmla="*/ 839660 h 1300939"/>
              <a:gd name="connsiteX40" fmla="*/ 77137 w 1488560"/>
              <a:gd name="connsiteY40" fmla="*/ 804139 h 1300939"/>
              <a:gd name="connsiteX41" fmla="*/ 70744 w 1488560"/>
              <a:gd name="connsiteY41" fmla="*/ 756540 h 1300939"/>
              <a:gd name="connsiteX42" fmla="*/ 38072 w 1488560"/>
              <a:gd name="connsiteY42" fmla="*/ 740201 h 1300939"/>
              <a:gd name="connsiteX43" fmla="*/ 23866 w 1488560"/>
              <a:gd name="connsiteY43" fmla="*/ 737359 h 1300939"/>
              <a:gd name="connsiteX44" fmla="*/ 14633 w 1488560"/>
              <a:gd name="connsiteY44" fmla="*/ 664896 h 1300939"/>
              <a:gd name="connsiteX45" fmla="*/ 23156 w 1488560"/>
              <a:gd name="connsiteY45" fmla="*/ 611614 h 1300939"/>
              <a:gd name="connsiteX46" fmla="*/ 40913 w 1488560"/>
              <a:gd name="connsiteY46" fmla="*/ 561174 h 1300939"/>
              <a:gd name="connsiteX47" fmla="*/ 435115 w 1488560"/>
              <a:gd name="connsiteY47" fmla="*/ 258534 h 1300939"/>
              <a:gd name="connsiteX48" fmla="*/ 1205053 w 1488560"/>
              <a:gd name="connsiteY48" fmla="*/ 2781 h 1300939"/>
              <a:gd name="connsiteX49" fmla="*/ 1248320 w 1488560"/>
              <a:gd name="connsiteY49" fmla="*/ 135 h 1300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1488560" h="1300939">
                <a:moveTo>
                  <a:pt x="1248320" y="135"/>
                </a:moveTo>
                <a:cubicBezTo>
                  <a:pt x="1333203" y="-1992"/>
                  <a:pt x="1312927" y="21785"/>
                  <a:pt x="1342137" y="20542"/>
                </a:cubicBezTo>
                <a:cubicBezTo>
                  <a:pt x="1375519" y="19831"/>
                  <a:pt x="1398959" y="35461"/>
                  <a:pt x="1378361" y="66009"/>
                </a:cubicBezTo>
                <a:cubicBezTo>
                  <a:pt x="1357052" y="97268"/>
                  <a:pt x="1396828" y="101530"/>
                  <a:pt x="1398959" y="113607"/>
                </a:cubicBezTo>
                <a:cubicBezTo>
                  <a:pt x="1401089" y="126395"/>
                  <a:pt x="1409613" y="188202"/>
                  <a:pt x="1382622" y="219460"/>
                </a:cubicBezTo>
                <a:cubicBezTo>
                  <a:pt x="1355632" y="250719"/>
                  <a:pt x="1398248" y="227275"/>
                  <a:pt x="1396828" y="250009"/>
                </a:cubicBezTo>
                <a:cubicBezTo>
                  <a:pt x="1396117" y="272032"/>
                  <a:pt x="1387594" y="337391"/>
                  <a:pt x="1365576" y="352309"/>
                </a:cubicBezTo>
                <a:cubicBezTo>
                  <a:pt x="1343557" y="366518"/>
                  <a:pt x="1334324" y="395645"/>
                  <a:pt x="1342847" y="401329"/>
                </a:cubicBezTo>
                <a:cubicBezTo>
                  <a:pt x="1351370" y="406302"/>
                  <a:pt x="1364865" y="415537"/>
                  <a:pt x="1340716" y="429746"/>
                </a:cubicBezTo>
                <a:cubicBezTo>
                  <a:pt x="1317277" y="443244"/>
                  <a:pt x="1293128" y="488711"/>
                  <a:pt x="1360604" y="460294"/>
                </a:cubicBezTo>
                <a:cubicBezTo>
                  <a:pt x="1428080" y="431166"/>
                  <a:pt x="1409613" y="475923"/>
                  <a:pt x="1420977" y="478765"/>
                </a:cubicBezTo>
                <a:cubicBezTo>
                  <a:pt x="1433052" y="480896"/>
                  <a:pt x="1467145" y="466688"/>
                  <a:pt x="1469986" y="473081"/>
                </a:cubicBezTo>
                <a:cubicBezTo>
                  <a:pt x="1472117" y="480186"/>
                  <a:pt x="1453650" y="519259"/>
                  <a:pt x="1460042" y="528494"/>
                </a:cubicBezTo>
                <a:cubicBezTo>
                  <a:pt x="1465724" y="537730"/>
                  <a:pt x="1485612" y="524942"/>
                  <a:pt x="1487033" y="554780"/>
                </a:cubicBezTo>
                <a:cubicBezTo>
                  <a:pt x="1488453" y="584618"/>
                  <a:pt x="1490584" y="659212"/>
                  <a:pt x="1431631" y="676973"/>
                </a:cubicBezTo>
                <a:cubicBezTo>
                  <a:pt x="1431631" y="676973"/>
                  <a:pt x="1414585" y="694733"/>
                  <a:pt x="1425949" y="718888"/>
                </a:cubicBezTo>
                <a:cubicBezTo>
                  <a:pt x="1437313" y="742332"/>
                  <a:pt x="1460752" y="754409"/>
                  <a:pt x="1445837" y="791351"/>
                </a:cubicBezTo>
                <a:cubicBezTo>
                  <a:pt x="1430921" y="829003"/>
                  <a:pt x="1457201" y="835397"/>
                  <a:pt x="1460752" y="835397"/>
                </a:cubicBezTo>
                <a:cubicBezTo>
                  <a:pt x="1465014" y="835397"/>
                  <a:pt x="1516864" y="856000"/>
                  <a:pt x="1467145" y="870208"/>
                </a:cubicBezTo>
                <a:cubicBezTo>
                  <a:pt x="1417426" y="884416"/>
                  <a:pt x="1436603" y="914965"/>
                  <a:pt x="1436603" y="914965"/>
                </a:cubicBezTo>
                <a:cubicBezTo>
                  <a:pt x="1436603" y="914965"/>
                  <a:pt x="1464304" y="934146"/>
                  <a:pt x="1460042" y="953328"/>
                </a:cubicBezTo>
                <a:cubicBezTo>
                  <a:pt x="1455070" y="972509"/>
                  <a:pt x="1428080" y="966115"/>
                  <a:pt x="1429500" y="993111"/>
                </a:cubicBezTo>
                <a:cubicBezTo>
                  <a:pt x="1430211" y="1020107"/>
                  <a:pt x="1411744" y="1005188"/>
                  <a:pt x="1387594" y="1017266"/>
                </a:cubicBezTo>
                <a:cubicBezTo>
                  <a:pt x="1363445" y="1029343"/>
                  <a:pt x="1391146" y="1034316"/>
                  <a:pt x="1347819" y="1052076"/>
                </a:cubicBezTo>
                <a:cubicBezTo>
                  <a:pt x="1304492" y="1069837"/>
                  <a:pt x="668086" y="1295752"/>
                  <a:pt x="668086" y="1295752"/>
                </a:cubicBezTo>
                <a:cubicBezTo>
                  <a:pt x="668086" y="1295752"/>
                  <a:pt x="639675" y="1303566"/>
                  <a:pt x="593507" y="1300014"/>
                </a:cubicBezTo>
                <a:cubicBezTo>
                  <a:pt x="593507" y="1300014"/>
                  <a:pt x="583563" y="1291489"/>
                  <a:pt x="593507" y="1277281"/>
                </a:cubicBezTo>
                <a:cubicBezTo>
                  <a:pt x="603451" y="1263782"/>
                  <a:pt x="568647" y="1270887"/>
                  <a:pt x="562965" y="1265203"/>
                </a:cubicBezTo>
                <a:cubicBezTo>
                  <a:pt x="556572" y="1259520"/>
                  <a:pt x="570068" y="1253126"/>
                  <a:pt x="561544" y="1238207"/>
                </a:cubicBezTo>
                <a:cubicBezTo>
                  <a:pt x="552311" y="1223999"/>
                  <a:pt x="493358" y="1266624"/>
                  <a:pt x="452162" y="1266624"/>
                </a:cubicBezTo>
                <a:cubicBezTo>
                  <a:pt x="411676" y="1267335"/>
                  <a:pt x="393209" y="1215474"/>
                  <a:pt x="393209" y="1215474"/>
                </a:cubicBezTo>
                <a:cubicBezTo>
                  <a:pt x="393209" y="1215474"/>
                  <a:pt x="404574" y="1179953"/>
                  <a:pt x="361957" y="1165744"/>
                </a:cubicBezTo>
                <a:cubicBezTo>
                  <a:pt x="319341" y="1151536"/>
                  <a:pt x="350593" y="1113883"/>
                  <a:pt x="344911" y="1100385"/>
                </a:cubicBezTo>
                <a:cubicBezTo>
                  <a:pt x="339228" y="1087598"/>
                  <a:pt x="324313" y="1119567"/>
                  <a:pt x="273883" y="1109621"/>
                </a:cubicBezTo>
                <a:cubicBezTo>
                  <a:pt x="222743" y="1099675"/>
                  <a:pt x="200725" y="1108200"/>
                  <a:pt x="214220" y="1054208"/>
                </a:cubicBezTo>
                <a:cubicBezTo>
                  <a:pt x="214220" y="1054208"/>
                  <a:pt x="144613" y="1057760"/>
                  <a:pt x="117623" y="1032185"/>
                </a:cubicBezTo>
                <a:cubicBezTo>
                  <a:pt x="89922" y="1005899"/>
                  <a:pt x="118333" y="996663"/>
                  <a:pt x="108389" y="971799"/>
                </a:cubicBezTo>
                <a:cubicBezTo>
                  <a:pt x="98445" y="946934"/>
                  <a:pt x="79268" y="978192"/>
                  <a:pt x="69324" y="953328"/>
                </a:cubicBezTo>
                <a:cubicBezTo>
                  <a:pt x="59380" y="929173"/>
                  <a:pt x="117623" y="886548"/>
                  <a:pt x="117623" y="886548"/>
                </a:cubicBezTo>
                <a:cubicBezTo>
                  <a:pt x="117623" y="886548"/>
                  <a:pt x="92763" y="863104"/>
                  <a:pt x="100576" y="839660"/>
                </a:cubicBezTo>
                <a:cubicBezTo>
                  <a:pt x="108389" y="816216"/>
                  <a:pt x="104127" y="806980"/>
                  <a:pt x="77137" y="804139"/>
                </a:cubicBezTo>
                <a:cubicBezTo>
                  <a:pt x="49436" y="801297"/>
                  <a:pt x="49436" y="775722"/>
                  <a:pt x="70744" y="756540"/>
                </a:cubicBezTo>
                <a:cubicBezTo>
                  <a:pt x="92053" y="737359"/>
                  <a:pt x="52277" y="743042"/>
                  <a:pt x="38072" y="740201"/>
                </a:cubicBezTo>
                <a:cubicBezTo>
                  <a:pt x="23866" y="737359"/>
                  <a:pt x="23866" y="737359"/>
                  <a:pt x="23866" y="737359"/>
                </a:cubicBezTo>
                <a:cubicBezTo>
                  <a:pt x="23866" y="737359"/>
                  <a:pt x="-23012" y="709652"/>
                  <a:pt x="14633" y="664896"/>
                </a:cubicBezTo>
                <a:cubicBezTo>
                  <a:pt x="14633" y="664896"/>
                  <a:pt x="1137" y="630795"/>
                  <a:pt x="23156" y="611614"/>
                </a:cubicBezTo>
                <a:cubicBezTo>
                  <a:pt x="45174" y="591722"/>
                  <a:pt x="31679" y="574672"/>
                  <a:pt x="40913" y="561174"/>
                </a:cubicBezTo>
                <a:cubicBezTo>
                  <a:pt x="49436" y="548386"/>
                  <a:pt x="112651" y="433298"/>
                  <a:pt x="435115" y="258534"/>
                </a:cubicBezTo>
                <a:cubicBezTo>
                  <a:pt x="757580" y="83770"/>
                  <a:pt x="1069391" y="14858"/>
                  <a:pt x="1205053" y="2781"/>
                </a:cubicBezTo>
                <a:cubicBezTo>
                  <a:pt x="1221922" y="1272"/>
                  <a:pt x="1236195" y="439"/>
                  <a:pt x="1248320" y="13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267487" y="2781867"/>
            <a:ext cx="1488560" cy="1300939"/>
          </a:xfrm>
          <a:custGeom>
            <a:avLst/>
            <a:gdLst>
              <a:gd name="connsiteX0" fmla="*/ 1248320 w 1488560"/>
              <a:gd name="connsiteY0" fmla="*/ 135 h 1300939"/>
              <a:gd name="connsiteX1" fmla="*/ 1342137 w 1488560"/>
              <a:gd name="connsiteY1" fmla="*/ 20542 h 1300939"/>
              <a:gd name="connsiteX2" fmla="*/ 1378361 w 1488560"/>
              <a:gd name="connsiteY2" fmla="*/ 66009 h 1300939"/>
              <a:gd name="connsiteX3" fmla="*/ 1398959 w 1488560"/>
              <a:gd name="connsiteY3" fmla="*/ 113607 h 1300939"/>
              <a:gd name="connsiteX4" fmla="*/ 1382622 w 1488560"/>
              <a:gd name="connsiteY4" fmla="*/ 219460 h 1300939"/>
              <a:gd name="connsiteX5" fmla="*/ 1396828 w 1488560"/>
              <a:gd name="connsiteY5" fmla="*/ 250009 h 1300939"/>
              <a:gd name="connsiteX6" fmla="*/ 1365576 w 1488560"/>
              <a:gd name="connsiteY6" fmla="*/ 352310 h 1300939"/>
              <a:gd name="connsiteX7" fmla="*/ 1342847 w 1488560"/>
              <a:gd name="connsiteY7" fmla="*/ 401329 h 1300939"/>
              <a:gd name="connsiteX8" fmla="*/ 1340716 w 1488560"/>
              <a:gd name="connsiteY8" fmla="*/ 429746 h 1300939"/>
              <a:gd name="connsiteX9" fmla="*/ 1360604 w 1488560"/>
              <a:gd name="connsiteY9" fmla="*/ 460294 h 1300939"/>
              <a:gd name="connsiteX10" fmla="*/ 1420977 w 1488560"/>
              <a:gd name="connsiteY10" fmla="*/ 478765 h 1300939"/>
              <a:gd name="connsiteX11" fmla="*/ 1469986 w 1488560"/>
              <a:gd name="connsiteY11" fmla="*/ 473081 h 1300939"/>
              <a:gd name="connsiteX12" fmla="*/ 1460042 w 1488560"/>
              <a:gd name="connsiteY12" fmla="*/ 528494 h 1300939"/>
              <a:gd name="connsiteX13" fmla="*/ 1487033 w 1488560"/>
              <a:gd name="connsiteY13" fmla="*/ 554780 h 1300939"/>
              <a:gd name="connsiteX14" fmla="*/ 1431631 w 1488560"/>
              <a:gd name="connsiteY14" fmla="*/ 676973 h 1300939"/>
              <a:gd name="connsiteX15" fmla="*/ 1425949 w 1488560"/>
              <a:gd name="connsiteY15" fmla="*/ 718888 h 1300939"/>
              <a:gd name="connsiteX16" fmla="*/ 1445837 w 1488560"/>
              <a:gd name="connsiteY16" fmla="*/ 791351 h 1300939"/>
              <a:gd name="connsiteX17" fmla="*/ 1460752 w 1488560"/>
              <a:gd name="connsiteY17" fmla="*/ 835397 h 1300939"/>
              <a:gd name="connsiteX18" fmla="*/ 1467145 w 1488560"/>
              <a:gd name="connsiteY18" fmla="*/ 870208 h 1300939"/>
              <a:gd name="connsiteX19" fmla="*/ 1436603 w 1488560"/>
              <a:gd name="connsiteY19" fmla="*/ 914965 h 1300939"/>
              <a:gd name="connsiteX20" fmla="*/ 1460042 w 1488560"/>
              <a:gd name="connsiteY20" fmla="*/ 953328 h 1300939"/>
              <a:gd name="connsiteX21" fmla="*/ 1429500 w 1488560"/>
              <a:gd name="connsiteY21" fmla="*/ 993111 h 1300939"/>
              <a:gd name="connsiteX22" fmla="*/ 1387594 w 1488560"/>
              <a:gd name="connsiteY22" fmla="*/ 1017266 h 1300939"/>
              <a:gd name="connsiteX23" fmla="*/ 1347819 w 1488560"/>
              <a:gd name="connsiteY23" fmla="*/ 1052076 h 1300939"/>
              <a:gd name="connsiteX24" fmla="*/ 668086 w 1488560"/>
              <a:gd name="connsiteY24" fmla="*/ 1295752 h 1300939"/>
              <a:gd name="connsiteX25" fmla="*/ 593507 w 1488560"/>
              <a:gd name="connsiteY25" fmla="*/ 1300014 h 1300939"/>
              <a:gd name="connsiteX26" fmla="*/ 593507 w 1488560"/>
              <a:gd name="connsiteY26" fmla="*/ 1277281 h 1300939"/>
              <a:gd name="connsiteX27" fmla="*/ 562965 w 1488560"/>
              <a:gd name="connsiteY27" fmla="*/ 1265203 h 1300939"/>
              <a:gd name="connsiteX28" fmla="*/ 561544 w 1488560"/>
              <a:gd name="connsiteY28" fmla="*/ 1238207 h 1300939"/>
              <a:gd name="connsiteX29" fmla="*/ 452162 w 1488560"/>
              <a:gd name="connsiteY29" fmla="*/ 1266624 h 1300939"/>
              <a:gd name="connsiteX30" fmla="*/ 393209 w 1488560"/>
              <a:gd name="connsiteY30" fmla="*/ 1215474 h 1300939"/>
              <a:gd name="connsiteX31" fmla="*/ 361957 w 1488560"/>
              <a:gd name="connsiteY31" fmla="*/ 1165744 h 1300939"/>
              <a:gd name="connsiteX32" fmla="*/ 344911 w 1488560"/>
              <a:gd name="connsiteY32" fmla="*/ 1100385 h 1300939"/>
              <a:gd name="connsiteX33" fmla="*/ 273883 w 1488560"/>
              <a:gd name="connsiteY33" fmla="*/ 1109621 h 1300939"/>
              <a:gd name="connsiteX34" fmla="*/ 214220 w 1488560"/>
              <a:gd name="connsiteY34" fmla="*/ 1054208 h 1300939"/>
              <a:gd name="connsiteX35" fmla="*/ 117623 w 1488560"/>
              <a:gd name="connsiteY35" fmla="*/ 1032185 h 1300939"/>
              <a:gd name="connsiteX36" fmla="*/ 108389 w 1488560"/>
              <a:gd name="connsiteY36" fmla="*/ 971799 h 1300939"/>
              <a:gd name="connsiteX37" fmla="*/ 69324 w 1488560"/>
              <a:gd name="connsiteY37" fmla="*/ 953328 h 1300939"/>
              <a:gd name="connsiteX38" fmla="*/ 117623 w 1488560"/>
              <a:gd name="connsiteY38" fmla="*/ 886548 h 1300939"/>
              <a:gd name="connsiteX39" fmla="*/ 100576 w 1488560"/>
              <a:gd name="connsiteY39" fmla="*/ 839660 h 1300939"/>
              <a:gd name="connsiteX40" fmla="*/ 77137 w 1488560"/>
              <a:gd name="connsiteY40" fmla="*/ 804139 h 1300939"/>
              <a:gd name="connsiteX41" fmla="*/ 70744 w 1488560"/>
              <a:gd name="connsiteY41" fmla="*/ 756540 h 1300939"/>
              <a:gd name="connsiteX42" fmla="*/ 38072 w 1488560"/>
              <a:gd name="connsiteY42" fmla="*/ 740201 h 1300939"/>
              <a:gd name="connsiteX43" fmla="*/ 23866 w 1488560"/>
              <a:gd name="connsiteY43" fmla="*/ 737359 h 1300939"/>
              <a:gd name="connsiteX44" fmla="*/ 14633 w 1488560"/>
              <a:gd name="connsiteY44" fmla="*/ 664896 h 1300939"/>
              <a:gd name="connsiteX45" fmla="*/ 23156 w 1488560"/>
              <a:gd name="connsiteY45" fmla="*/ 611614 h 1300939"/>
              <a:gd name="connsiteX46" fmla="*/ 40913 w 1488560"/>
              <a:gd name="connsiteY46" fmla="*/ 561174 h 1300939"/>
              <a:gd name="connsiteX47" fmla="*/ 435115 w 1488560"/>
              <a:gd name="connsiteY47" fmla="*/ 258534 h 1300939"/>
              <a:gd name="connsiteX48" fmla="*/ 1205053 w 1488560"/>
              <a:gd name="connsiteY48" fmla="*/ 2781 h 1300939"/>
              <a:gd name="connsiteX49" fmla="*/ 1248320 w 1488560"/>
              <a:gd name="connsiteY49" fmla="*/ 135 h 1300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1488560" h="1300939">
                <a:moveTo>
                  <a:pt x="1248320" y="135"/>
                </a:moveTo>
                <a:cubicBezTo>
                  <a:pt x="1333203" y="-1992"/>
                  <a:pt x="1312927" y="21785"/>
                  <a:pt x="1342137" y="20542"/>
                </a:cubicBezTo>
                <a:cubicBezTo>
                  <a:pt x="1375519" y="19831"/>
                  <a:pt x="1398959" y="35461"/>
                  <a:pt x="1378361" y="66009"/>
                </a:cubicBezTo>
                <a:cubicBezTo>
                  <a:pt x="1357052" y="97268"/>
                  <a:pt x="1396828" y="101530"/>
                  <a:pt x="1398959" y="113607"/>
                </a:cubicBezTo>
                <a:cubicBezTo>
                  <a:pt x="1401089" y="126395"/>
                  <a:pt x="1409613" y="188202"/>
                  <a:pt x="1382622" y="219460"/>
                </a:cubicBezTo>
                <a:cubicBezTo>
                  <a:pt x="1355632" y="250719"/>
                  <a:pt x="1398248" y="227275"/>
                  <a:pt x="1396828" y="250009"/>
                </a:cubicBezTo>
                <a:cubicBezTo>
                  <a:pt x="1396117" y="272032"/>
                  <a:pt x="1387594" y="337391"/>
                  <a:pt x="1365576" y="352310"/>
                </a:cubicBezTo>
                <a:cubicBezTo>
                  <a:pt x="1343557" y="366518"/>
                  <a:pt x="1334324" y="395645"/>
                  <a:pt x="1342847" y="401329"/>
                </a:cubicBezTo>
                <a:cubicBezTo>
                  <a:pt x="1351370" y="406302"/>
                  <a:pt x="1364865" y="415537"/>
                  <a:pt x="1340716" y="429746"/>
                </a:cubicBezTo>
                <a:cubicBezTo>
                  <a:pt x="1317277" y="443244"/>
                  <a:pt x="1293128" y="488711"/>
                  <a:pt x="1360604" y="460294"/>
                </a:cubicBezTo>
                <a:cubicBezTo>
                  <a:pt x="1428080" y="431166"/>
                  <a:pt x="1409613" y="475923"/>
                  <a:pt x="1420977" y="478765"/>
                </a:cubicBezTo>
                <a:cubicBezTo>
                  <a:pt x="1433052" y="480896"/>
                  <a:pt x="1467145" y="466688"/>
                  <a:pt x="1469986" y="473081"/>
                </a:cubicBezTo>
                <a:cubicBezTo>
                  <a:pt x="1472117" y="480186"/>
                  <a:pt x="1453650" y="519259"/>
                  <a:pt x="1460042" y="528494"/>
                </a:cubicBezTo>
                <a:cubicBezTo>
                  <a:pt x="1465724" y="537730"/>
                  <a:pt x="1485612" y="524942"/>
                  <a:pt x="1487033" y="554780"/>
                </a:cubicBezTo>
                <a:cubicBezTo>
                  <a:pt x="1488453" y="584618"/>
                  <a:pt x="1490584" y="659212"/>
                  <a:pt x="1431631" y="676973"/>
                </a:cubicBezTo>
                <a:cubicBezTo>
                  <a:pt x="1431631" y="676973"/>
                  <a:pt x="1414585" y="694734"/>
                  <a:pt x="1425949" y="718888"/>
                </a:cubicBezTo>
                <a:cubicBezTo>
                  <a:pt x="1437313" y="742332"/>
                  <a:pt x="1460752" y="754409"/>
                  <a:pt x="1445837" y="791351"/>
                </a:cubicBezTo>
                <a:cubicBezTo>
                  <a:pt x="1430921" y="829003"/>
                  <a:pt x="1457201" y="835397"/>
                  <a:pt x="1460752" y="835397"/>
                </a:cubicBezTo>
                <a:cubicBezTo>
                  <a:pt x="1465014" y="835397"/>
                  <a:pt x="1516864" y="856000"/>
                  <a:pt x="1467145" y="870208"/>
                </a:cubicBezTo>
                <a:cubicBezTo>
                  <a:pt x="1417426" y="884416"/>
                  <a:pt x="1436603" y="914965"/>
                  <a:pt x="1436603" y="914965"/>
                </a:cubicBezTo>
                <a:cubicBezTo>
                  <a:pt x="1436603" y="914965"/>
                  <a:pt x="1464304" y="934146"/>
                  <a:pt x="1460042" y="953328"/>
                </a:cubicBezTo>
                <a:cubicBezTo>
                  <a:pt x="1455070" y="972509"/>
                  <a:pt x="1428080" y="966115"/>
                  <a:pt x="1429500" y="993111"/>
                </a:cubicBezTo>
                <a:cubicBezTo>
                  <a:pt x="1430211" y="1020107"/>
                  <a:pt x="1411744" y="1005188"/>
                  <a:pt x="1387594" y="1017266"/>
                </a:cubicBezTo>
                <a:cubicBezTo>
                  <a:pt x="1363445" y="1029343"/>
                  <a:pt x="1391146" y="1034316"/>
                  <a:pt x="1347819" y="1052076"/>
                </a:cubicBezTo>
                <a:cubicBezTo>
                  <a:pt x="1304492" y="1069837"/>
                  <a:pt x="668086" y="1295752"/>
                  <a:pt x="668086" y="1295752"/>
                </a:cubicBezTo>
                <a:cubicBezTo>
                  <a:pt x="668086" y="1295752"/>
                  <a:pt x="639675" y="1303566"/>
                  <a:pt x="593507" y="1300014"/>
                </a:cubicBezTo>
                <a:cubicBezTo>
                  <a:pt x="593507" y="1300014"/>
                  <a:pt x="583563" y="1291489"/>
                  <a:pt x="593507" y="1277281"/>
                </a:cubicBezTo>
                <a:cubicBezTo>
                  <a:pt x="603451" y="1263782"/>
                  <a:pt x="568647" y="1270887"/>
                  <a:pt x="562965" y="1265203"/>
                </a:cubicBezTo>
                <a:cubicBezTo>
                  <a:pt x="556572" y="1259520"/>
                  <a:pt x="570068" y="1253126"/>
                  <a:pt x="561544" y="1238207"/>
                </a:cubicBezTo>
                <a:cubicBezTo>
                  <a:pt x="552311" y="1223999"/>
                  <a:pt x="493358" y="1266624"/>
                  <a:pt x="452162" y="1266624"/>
                </a:cubicBezTo>
                <a:cubicBezTo>
                  <a:pt x="411676" y="1267335"/>
                  <a:pt x="393209" y="1215474"/>
                  <a:pt x="393209" y="1215474"/>
                </a:cubicBezTo>
                <a:cubicBezTo>
                  <a:pt x="393209" y="1215474"/>
                  <a:pt x="404574" y="1179953"/>
                  <a:pt x="361957" y="1165744"/>
                </a:cubicBezTo>
                <a:cubicBezTo>
                  <a:pt x="319341" y="1151536"/>
                  <a:pt x="350593" y="1113883"/>
                  <a:pt x="344911" y="1100385"/>
                </a:cubicBezTo>
                <a:cubicBezTo>
                  <a:pt x="339228" y="1087598"/>
                  <a:pt x="324313" y="1119567"/>
                  <a:pt x="273883" y="1109621"/>
                </a:cubicBezTo>
                <a:cubicBezTo>
                  <a:pt x="222743" y="1099675"/>
                  <a:pt x="200725" y="1108200"/>
                  <a:pt x="214220" y="1054208"/>
                </a:cubicBezTo>
                <a:cubicBezTo>
                  <a:pt x="214220" y="1054208"/>
                  <a:pt x="144613" y="1057760"/>
                  <a:pt x="117623" y="1032185"/>
                </a:cubicBezTo>
                <a:cubicBezTo>
                  <a:pt x="89922" y="1005899"/>
                  <a:pt x="118333" y="996663"/>
                  <a:pt x="108389" y="971799"/>
                </a:cubicBezTo>
                <a:cubicBezTo>
                  <a:pt x="98445" y="946934"/>
                  <a:pt x="79268" y="978192"/>
                  <a:pt x="69324" y="953328"/>
                </a:cubicBezTo>
                <a:cubicBezTo>
                  <a:pt x="59380" y="929173"/>
                  <a:pt x="117623" y="886548"/>
                  <a:pt x="117623" y="886548"/>
                </a:cubicBezTo>
                <a:cubicBezTo>
                  <a:pt x="117623" y="886548"/>
                  <a:pt x="92763" y="863104"/>
                  <a:pt x="100576" y="839660"/>
                </a:cubicBezTo>
                <a:cubicBezTo>
                  <a:pt x="108389" y="816216"/>
                  <a:pt x="104127" y="806980"/>
                  <a:pt x="77137" y="804139"/>
                </a:cubicBezTo>
                <a:cubicBezTo>
                  <a:pt x="49436" y="801297"/>
                  <a:pt x="49436" y="775722"/>
                  <a:pt x="70744" y="756540"/>
                </a:cubicBezTo>
                <a:cubicBezTo>
                  <a:pt x="92053" y="737359"/>
                  <a:pt x="52277" y="743042"/>
                  <a:pt x="38072" y="740201"/>
                </a:cubicBezTo>
                <a:cubicBezTo>
                  <a:pt x="23866" y="737359"/>
                  <a:pt x="23866" y="737359"/>
                  <a:pt x="23866" y="737359"/>
                </a:cubicBezTo>
                <a:cubicBezTo>
                  <a:pt x="23866" y="737359"/>
                  <a:pt x="-23012" y="709652"/>
                  <a:pt x="14633" y="664896"/>
                </a:cubicBezTo>
                <a:cubicBezTo>
                  <a:pt x="14633" y="664896"/>
                  <a:pt x="1137" y="630795"/>
                  <a:pt x="23156" y="611614"/>
                </a:cubicBezTo>
                <a:cubicBezTo>
                  <a:pt x="45174" y="591722"/>
                  <a:pt x="31679" y="574672"/>
                  <a:pt x="40913" y="561174"/>
                </a:cubicBezTo>
                <a:cubicBezTo>
                  <a:pt x="49436" y="548386"/>
                  <a:pt x="112651" y="433298"/>
                  <a:pt x="435115" y="258534"/>
                </a:cubicBezTo>
                <a:cubicBezTo>
                  <a:pt x="757580" y="83770"/>
                  <a:pt x="1069391" y="14859"/>
                  <a:pt x="1205053" y="2781"/>
                </a:cubicBezTo>
                <a:cubicBezTo>
                  <a:pt x="1221922" y="1272"/>
                  <a:pt x="1236195" y="439"/>
                  <a:pt x="1248320" y="13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5"/>
          </p:nvPr>
        </p:nvSpPr>
        <p:spPr>
          <a:xfrm>
            <a:off x="267487" y="5167574"/>
            <a:ext cx="1488560" cy="1300939"/>
          </a:xfrm>
          <a:custGeom>
            <a:avLst/>
            <a:gdLst>
              <a:gd name="connsiteX0" fmla="*/ 1248320 w 1488560"/>
              <a:gd name="connsiteY0" fmla="*/ 135 h 1300939"/>
              <a:gd name="connsiteX1" fmla="*/ 1342137 w 1488560"/>
              <a:gd name="connsiteY1" fmla="*/ 20542 h 1300939"/>
              <a:gd name="connsiteX2" fmla="*/ 1378361 w 1488560"/>
              <a:gd name="connsiteY2" fmla="*/ 66009 h 1300939"/>
              <a:gd name="connsiteX3" fmla="*/ 1398959 w 1488560"/>
              <a:gd name="connsiteY3" fmla="*/ 113607 h 1300939"/>
              <a:gd name="connsiteX4" fmla="*/ 1382622 w 1488560"/>
              <a:gd name="connsiteY4" fmla="*/ 219460 h 1300939"/>
              <a:gd name="connsiteX5" fmla="*/ 1396828 w 1488560"/>
              <a:gd name="connsiteY5" fmla="*/ 250009 h 1300939"/>
              <a:gd name="connsiteX6" fmla="*/ 1365576 w 1488560"/>
              <a:gd name="connsiteY6" fmla="*/ 352310 h 1300939"/>
              <a:gd name="connsiteX7" fmla="*/ 1342847 w 1488560"/>
              <a:gd name="connsiteY7" fmla="*/ 401329 h 1300939"/>
              <a:gd name="connsiteX8" fmla="*/ 1340716 w 1488560"/>
              <a:gd name="connsiteY8" fmla="*/ 429746 h 1300939"/>
              <a:gd name="connsiteX9" fmla="*/ 1360604 w 1488560"/>
              <a:gd name="connsiteY9" fmla="*/ 460294 h 1300939"/>
              <a:gd name="connsiteX10" fmla="*/ 1420977 w 1488560"/>
              <a:gd name="connsiteY10" fmla="*/ 478765 h 1300939"/>
              <a:gd name="connsiteX11" fmla="*/ 1469986 w 1488560"/>
              <a:gd name="connsiteY11" fmla="*/ 473082 h 1300939"/>
              <a:gd name="connsiteX12" fmla="*/ 1460042 w 1488560"/>
              <a:gd name="connsiteY12" fmla="*/ 528495 h 1300939"/>
              <a:gd name="connsiteX13" fmla="*/ 1487033 w 1488560"/>
              <a:gd name="connsiteY13" fmla="*/ 554780 h 1300939"/>
              <a:gd name="connsiteX14" fmla="*/ 1431631 w 1488560"/>
              <a:gd name="connsiteY14" fmla="*/ 676973 h 1300939"/>
              <a:gd name="connsiteX15" fmla="*/ 1425949 w 1488560"/>
              <a:gd name="connsiteY15" fmla="*/ 718888 h 1300939"/>
              <a:gd name="connsiteX16" fmla="*/ 1445837 w 1488560"/>
              <a:gd name="connsiteY16" fmla="*/ 791351 h 1300939"/>
              <a:gd name="connsiteX17" fmla="*/ 1460752 w 1488560"/>
              <a:gd name="connsiteY17" fmla="*/ 835397 h 1300939"/>
              <a:gd name="connsiteX18" fmla="*/ 1467145 w 1488560"/>
              <a:gd name="connsiteY18" fmla="*/ 870208 h 1300939"/>
              <a:gd name="connsiteX19" fmla="*/ 1436603 w 1488560"/>
              <a:gd name="connsiteY19" fmla="*/ 914965 h 1300939"/>
              <a:gd name="connsiteX20" fmla="*/ 1460042 w 1488560"/>
              <a:gd name="connsiteY20" fmla="*/ 953328 h 1300939"/>
              <a:gd name="connsiteX21" fmla="*/ 1429500 w 1488560"/>
              <a:gd name="connsiteY21" fmla="*/ 993111 h 1300939"/>
              <a:gd name="connsiteX22" fmla="*/ 1387594 w 1488560"/>
              <a:gd name="connsiteY22" fmla="*/ 1017266 h 1300939"/>
              <a:gd name="connsiteX23" fmla="*/ 1347819 w 1488560"/>
              <a:gd name="connsiteY23" fmla="*/ 1052076 h 1300939"/>
              <a:gd name="connsiteX24" fmla="*/ 668086 w 1488560"/>
              <a:gd name="connsiteY24" fmla="*/ 1295752 h 1300939"/>
              <a:gd name="connsiteX25" fmla="*/ 593507 w 1488560"/>
              <a:gd name="connsiteY25" fmla="*/ 1300014 h 1300939"/>
              <a:gd name="connsiteX26" fmla="*/ 593507 w 1488560"/>
              <a:gd name="connsiteY26" fmla="*/ 1277281 h 1300939"/>
              <a:gd name="connsiteX27" fmla="*/ 562965 w 1488560"/>
              <a:gd name="connsiteY27" fmla="*/ 1265203 h 1300939"/>
              <a:gd name="connsiteX28" fmla="*/ 561544 w 1488560"/>
              <a:gd name="connsiteY28" fmla="*/ 1238207 h 1300939"/>
              <a:gd name="connsiteX29" fmla="*/ 452162 w 1488560"/>
              <a:gd name="connsiteY29" fmla="*/ 1266624 h 1300939"/>
              <a:gd name="connsiteX30" fmla="*/ 393209 w 1488560"/>
              <a:gd name="connsiteY30" fmla="*/ 1215474 h 1300939"/>
              <a:gd name="connsiteX31" fmla="*/ 361957 w 1488560"/>
              <a:gd name="connsiteY31" fmla="*/ 1165744 h 1300939"/>
              <a:gd name="connsiteX32" fmla="*/ 344911 w 1488560"/>
              <a:gd name="connsiteY32" fmla="*/ 1100385 h 1300939"/>
              <a:gd name="connsiteX33" fmla="*/ 273883 w 1488560"/>
              <a:gd name="connsiteY33" fmla="*/ 1109621 h 1300939"/>
              <a:gd name="connsiteX34" fmla="*/ 214220 w 1488560"/>
              <a:gd name="connsiteY34" fmla="*/ 1054208 h 1300939"/>
              <a:gd name="connsiteX35" fmla="*/ 117623 w 1488560"/>
              <a:gd name="connsiteY35" fmla="*/ 1032185 h 1300939"/>
              <a:gd name="connsiteX36" fmla="*/ 108389 w 1488560"/>
              <a:gd name="connsiteY36" fmla="*/ 971799 h 1300939"/>
              <a:gd name="connsiteX37" fmla="*/ 69324 w 1488560"/>
              <a:gd name="connsiteY37" fmla="*/ 953328 h 1300939"/>
              <a:gd name="connsiteX38" fmla="*/ 117623 w 1488560"/>
              <a:gd name="connsiteY38" fmla="*/ 886548 h 1300939"/>
              <a:gd name="connsiteX39" fmla="*/ 100576 w 1488560"/>
              <a:gd name="connsiteY39" fmla="*/ 839660 h 1300939"/>
              <a:gd name="connsiteX40" fmla="*/ 77137 w 1488560"/>
              <a:gd name="connsiteY40" fmla="*/ 804139 h 1300939"/>
              <a:gd name="connsiteX41" fmla="*/ 70744 w 1488560"/>
              <a:gd name="connsiteY41" fmla="*/ 756540 h 1300939"/>
              <a:gd name="connsiteX42" fmla="*/ 38072 w 1488560"/>
              <a:gd name="connsiteY42" fmla="*/ 740201 h 1300939"/>
              <a:gd name="connsiteX43" fmla="*/ 23866 w 1488560"/>
              <a:gd name="connsiteY43" fmla="*/ 737359 h 1300939"/>
              <a:gd name="connsiteX44" fmla="*/ 14633 w 1488560"/>
              <a:gd name="connsiteY44" fmla="*/ 664896 h 1300939"/>
              <a:gd name="connsiteX45" fmla="*/ 23156 w 1488560"/>
              <a:gd name="connsiteY45" fmla="*/ 611614 h 1300939"/>
              <a:gd name="connsiteX46" fmla="*/ 40913 w 1488560"/>
              <a:gd name="connsiteY46" fmla="*/ 561174 h 1300939"/>
              <a:gd name="connsiteX47" fmla="*/ 435115 w 1488560"/>
              <a:gd name="connsiteY47" fmla="*/ 258534 h 1300939"/>
              <a:gd name="connsiteX48" fmla="*/ 1205053 w 1488560"/>
              <a:gd name="connsiteY48" fmla="*/ 2781 h 1300939"/>
              <a:gd name="connsiteX49" fmla="*/ 1248320 w 1488560"/>
              <a:gd name="connsiteY49" fmla="*/ 135 h 1300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1488560" h="1300939">
                <a:moveTo>
                  <a:pt x="1248320" y="135"/>
                </a:moveTo>
                <a:cubicBezTo>
                  <a:pt x="1333203" y="-1992"/>
                  <a:pt x="1312927" y="21785"/>
                  <a:pt x="1342137" y="20542"/>
                </a:cubicBezTo>
                <a:cubicBezTo>
                  <a:pt x="1375519" y="19832"/>
                  <a:pt x="1398959" y="35461"/>
                  <a:pt x="1378361" y="66009"/>
                </a:cubicBezTo>
                <a:cubicBezTo>
                  <a:pt x="1357052" y="97268"/>
                  <a:pt x="1396828" y="101530"/>
                  <a:pt x="1398959" y="113607"/>
                </a:cubicBezTo>
                <a:cubicBezTo>
                  <a:pt x="1401089" y="126395"/>
                  <a:pt x="1409613" y="188202"/>
                  <a:pt x="1382622" y="219460"/>
                </a:cubicBezTo>
                <a:cubicBezTo>
                  <a:pt x="1355632" y="250719"/>
                  <a:pt x="1398248" y="227275"/>
                  <a:pt x="1396828" y="250009"/>
                </a:cubicBezTo>
                <a:cubicBezTo>
                  <a:pt x="1396117" y="272032"/>
                  <a:pt x="1387594" y="337391"/>
                  <a:pt x="1365576" y="352310"/>
                </a:cubicBezTo>
                <a:cubicBezTo>
                  <a:pt x="1343557" y="366518"/>
                  <a:pt x="1334324" y="395645"/>
                  <a:pt x="1342847" y="401329"/>
                </a:cubicBezTo>
                <a:cubicBezTo>
                  <a:pt x="1351370" y="406302"/>
                  <a:pt x="1364865" y="415537"/>
                  <a:pt x="1340716" y="429746"/>
                </a:cubicBezTo>
                <a:cubicBezTo>
                  <a:pt x="1317277" y="443244"/>
                  <a:pt x="1293128" y="488711"/>
                  <a:pt x="1360604" y="460294"/>
                </a:cubicBezTo>
                <a:cubicBezTo>
                  <a:pt x="1428080" y="431167"/>
                  <a:pt x="1409613" y="475923"/>
                  <a:pt x="1420977" y="478765"/>
                </a:cubicBezTo>
                <a:cubicBezTo>
                  <a:pt x="1433052" y="480896"/>
                  <a:pt x="1467145" y="466688"/>
                  <a:pt x="1469986" y="473082"/>
                </a:cubicBezTo>
                <a:cubicBezTo>
                  <a:pt x="1472117" y="480186"/>
                  <a:pt x="1453650" y="519259"/>
                  <a:pt x="1460042" y="528495"/>
                </a:cubicBezTo>
                <a:cubicBezTo>
                  <a:pt x="1465724" y="537730"/>
                  <a:pt x="1485612" y="524942"/>
                  <a:pt x="1487033" y="554780"/>
                </a:cubicBezTo>
                <a:cubicBezTo>
                  <a:pt x="1488453" y="584618"/>
                  <a:pt x="1490584" y="659212"/>
                  <a:pt x="1431631" y="676973"/>
                </a:cubicBezTo>
                <a:cubicBezTo>
                  <a:pt x="1431631" y="676973"/>
                  <a:pt x="1414585" y="694734"/>
                  <a:pt x="1425949" y="718888"/>
                </a:cubicBezTo>
                <a:cubicBezTo>
                  <a:pt x="1437313" y="742332"/>
                  <a:pt x="1460752" y="754409"/>
                  <a:pt x="1445837" y="791351"/>
                </a:cubicBezTo>
                <a:cubicBezTo>
                  <a:pt x="1430921" y="829004"/>
                  <a:pt x="1457201" y="835397"/>
                  <a:pt x="1460752" y="835397"/>
                </a:cubicBezTo>
                <a:cubicBezTo>
                  <a:pt x="1465014" y="835397"/>
                  <a:pt x="1516864" y="856000"/>
                  <a:pt x="1467145" y="870208"/>
                </a:cubicBezTo>
                <a:cubicBezTo>
                  <a:pt x="1417426" y="884417"/>
                  <a:pt x="1436603" y="914965"/>
                  <a:pt x="1436603" y="914965"/>
                </a:cubicBezTo>
                <a:cubicBezTo>
                  <a:pt x="1436603" y="914965"/>
                  <a:pt x="1464304" y="934146"/>
                  <a:pt x="1460042" y="953328"/>
                </a:cubicBezTo>
                <a:cubicBezTo>
                  <a:pt x="1455070" y="972509"/>
                  <a:pt x="1428080" y="966115"/>
                  <a:pt x="1429500" y="993111"/>
                </a:cubicBezTo>
                <a:cubicBezTo>
                  <a:pt x="1430211" y="1020107"/>
                  <a:pt x="1411744" y="1005188"/>
                  <a:pt x="1387594" y="1017266"/>
                </a:cubicBezTo>
                <a:cubicBezTo>
                  <a:pt x="1363445" y="1029343"/>
                  <a:pt x="1391146" y="1034316"/>
                  <a:pt x="1347819" y="1052076"/>
                </a:cubicBezTo>
                <a:cubicBezTo>
                  <a:pt x="1304492" y="1069837"/>
                  <a:pt x="668086" y="1295752"/>
                  <a:pt x="668086" y="1295752"/>
                </a:cubicBezTo>
                <a:cubicBezTo>
                  <a:pt x="668086" y="1295752"/>
                  <a:pt x="639675" y="1303566"/>
                  <a:pt x="593507" y="1300014"/>
                </a:cubicBezTo>
                <a:cubicBezTo>
                  <a:pt x="593507" y="1300014"/>
                  <a:pt x="583563" y="1291489"/>
                  <a:pt x="593507" y="1277281"/>
                </a:cubicBezTo>
                <a:cubicBezTo>
                  <a:pt x="603451" y="1263782"/>
                  <a:pt x="568647" y="1270887"/>
                  <a:pt x="562965" y="1265203"/>
                </a:cubicBezTo>
                <a:cubicBezTo>
                  <a:pt x="556572" y="1259520"/>
                  <a:pt x="570068" y="1253126"/>
                  <a:pt x="561544" y="1238207"/>
                </a:cubicBezTo>
                <a:cubicBezTo>
                  <a:pt x="552311" y="1223999"/>
                  <a:pt x="493358" y="1266624"/>
                  <a:pt x="452162" y="1266624"/>
                </a:cubicBezTo>
                <a:cubicBezTo>
                  <a:pt x="411676" y="1267335"/>
                  <a:pt x="393209" y="1215474"/>
                  <a:pt x="393209" y="1215474"/>
                </a:cubicBezTo>
                <a:cubicBezTo>
                  <a:pt x="393209" y="1215474"/>
                  <a:pt x="404574" y="1179953"/>
                  <a:pt x="361957" y="1165744"/>
                </a:cubicBezTo>
                <a:cubicBezTo>
                  <a:pt x="319341" y="1151536"/>
                  <a:pt x="350593" y="1113883"/>
                  <a:pt x="344911" y="1100385"/>
                </a:cubicBezTo>
                <a:cubicBezTo>
                  <a:pt x="339228" y="1087598"/>
                  <a:pt x="324313" y="1119567"/>
                  <a:pt x="273883" y="1109621"/>
                </a:cubicBezTo>
                <a:cubicBezTo>
                  <a:pt x="222743" y="1099675"/>
                  <a:pt x="200725" y="1108200"/>
                  <a:pt x="214220" y="1054208"/>
                </a:cubicBezTo>
                <a:cubicBezTo>
                  <a:pt x="214220" y="1054208"/>
                  <a:pt x="144613" y="1057760"/>
                  <a:pt x="117623" y="1032185"/>
                </a:cubicBezTo>
                <a:cubicBezTo>
                  <a:pt x="89922" y="1005899"/>
                  <a:pt x="118333" y="996663"/>
                  <a:pt x="108389" y="971799"/>
                </a:cubicBezTo>
                <a:cubicBezTo>
                  <a:pt x="98445" y="946934"/>
                  <a:pt x="79268" y="978192"/>
                  <a:pt x="69324" y="953328"/>
                </a:cubicBezTo>
                <a:cubicBezTo>
                  <a:pt x="59380" y="929173"/>
                  <a:pt x="117623" y="886548"/>
                  <a:pt x="117623" y="886548"/>
                </a:cubicBezTo>
                <a:cubicBezTo>
                  <a:pt x="117623" y="886548"/>
                  <a:pt x="92763" y="863104"/>
                  <a:pt x="100576" y="839660"/>
                </a:cubicBezTo>
                <a:cubicBezTo>
                  <a:pt x="108389" y="816216"/>
                  <a:pt x="104127" y="806980"/>
                  <a:pt x="77137" y="804139"/>
                </a:cubicBezTo>
                <a:cubicBezTo>
                  <a:pt x="49436" y="801297"/>
                  <a:pt x="49436" y="775722"/>
                  <a:pt x="70744" y="756540"/>
                </a:cubicBezTo>
                <a:cubicBezTo>
                  <a:pt x="92053" y="737359"/>
                  <a:pt x="52277" y="743042"/>
                  <a:pt x="38072" y="740201"/>
                </a:cubicBezTo>
                <a:cubicBezTo>
                  <a:pt x="23866" y="737359"/>
                  <a:pt x="23866" y="737359"/>
                  <a:pt x="23866" y="737359"/>
                </a:cubicBezTo>
                <a:cubicBezTo>
                  <a:pt x="23866" y="737359"/>
                  <a:pt x="-23012" y="709652"/>
                  <a:pt x="14633" y="664896"/>
                </a:cubicBezTo>
                <a:cubicBezTo>
                  <a:pt x="14633" y="664896"/>
                  <a:pt x="1137" y="630795"/>
                  <a:pt x="23156" y="611614"/>
                </a:cubicBezTo>
                <a:cubicBezTo>
                  <a:pt x="45174" y="591722"/>
                  <a:pt x="31679" y="574672"/>
                  <a:pt x="40913" y="561174"/>
                </a:cubicBezTo>
                <a:cubicBezTo>
                  <a:pt x="49436" y="548386"/>
                  <a:pt x="112651" y="433298"/>
                  <a:pt x="435115" y="258534"/>
                </a:cubicBezTo>
                <a:cubicBezTo>
                  <a:pt x="757580" y="83770"/>
                  <a:pt x="1069391" y="14859"/>
                  <a:pt x="1205053" y="2781"/>
                </a:cubicBezTo>
                <a:cubicBezTo>
                  <a:pt x="1221922" y="1272"/>
                  <a:pt x="1236195" y="439"/>
                  <a:pt x="1248320" y="13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6"/>
          </p:nvPr>
        </p:nvSpPr>
        <p:spPr>
          <a:xfrm flipH="1">
            <a:off x="6060622" y="1589013"/>
            <a:ext cx="1488560" cy="1300939"/>
          </a:xfrm>
          <a:custGeom>
            <a:avLst/>
            <a:gdLst>
              <a:gd name="connsiteX0" fmla="*/ 1248321 w 1488560"/>
              <a:gd name="connsiteY0" fmla="*/ 135 h 1300939"/>
              <a:gd name="connsiteX1" fmla="*/ 1342137 w 1488560"/>
              <a:gd name="connsiteY1" fmla="*/ 20542 h 1300939"/>
              <a:gd name="connsiteX2" fmla="*/ 1378361 w 1488560"/>
              <a:gd name="connsiteY2" fmla="*/ 66009 h 1300939"/>
              <a:gd name="connsiteX3" fmla="*/ 1398959 w 1488560"/>
              <a:gd name="connsiteY3" fmla="*/ 113607 h 1300939"/>
              <a:gd name="connsiteX4" fmla="*/ 1382622 w 1488560"/>
              <a:gd name="connsiteY4" fmla="*/ 219460 h 1300939"/>
              <a:gd name="connsiteX5" fmla="*/ 1396828 w 1488560"/>
              <a:gd name="connsiteY5" fmla="*/ 250009 h 1300939"/>
              <a:gd name="connsiteX6" fmla="*/ 1365576 w 1488560"/>
              <a:gd name="connsiteY6" fmla="*/ 352309 h 1300939"/>
              <a:gd name="connsiteX7" fmla="*/ 1342847 w 1488560"/>
              <a:gd name="connsiteY7" fmla="*/ 401329 h 1300939"/>
              <a:gd name="connsiteX8" fmla="*/ 1340716 w 1488560"/>
              <a:gd name="connsiteY8" fmla="*/ 429746 h 1300939"/>
              <a:gd name="connsiteX9" fmla="*/ 1360604 w 1488560"/>
              <a:gd name="connsiteY9" fmla="*/ 460294 h 1300939"/>
              <a:gd name="connsiteX10" fmla="*/ 1420977 w 1488560"/>
              <a:gd name="connsiteY10" fmla="*/ 478765 h 1300939"/>
              <a:gd name="connsiteX11" fmla="*/ 1469986 w 1488560"/>
              <a:gd name="connsiteY11" fmla="*/ 473081 h 1300939"/>
              <a:gd name="connsiteX12" fmla="*/ 1460042 w 1488560"/>
              <a:gd name="connsiteY12" fmla="*/ 528494 h 1300939"/>
              <a:gd name="connsiteX13" fmla="*/ 1487033 w 1488560"/>
              <a:gd name="connsiteY13" fmla="*/ 554780 h 1300939"/>
              <a:gd name="connsiteX14" fmla="*/ 1431631 w 1488560"/>
              <a:gd name="connsiteY14" fmla="*/ 676973 h 1300939"/>
              <a:gd name="connsiteX15" fmla="*/ 1425949 w 1488560"/>
              <a:gd name="connsiteY15" fmla="*/ 718888 h 1300939"/>
              <a:gd name="connsiteX16" fmla="*/ 1445837 w 1488560"/>
              <a:gd name="connsiteY16" fmla="*/ 791351 h 1300939"/>
              <a:gd name="connsiteX17" fmla="*/ 1460752 w 1488560"/>
              <a:gd name="connsiteY17" fmla="*/ 835397 h 1300939"/>
              <a:gd name="connsiteX18" fmla="*/ 1467145 w 1488560"/>
              <a:gd name="connsiteY18" fmla="*/ 870208 h 1300939"/>
              <a:gd name="connsiteX19" fmla="*/ 1436603 w 1488560"/>
              <a:gd name="connsiteY19" fmla="*/ 914965 h 1300939"/>
              <a:gd name="connsiteX20" fmla="*/ 1460042 w 1488560"/>
              <a:gd name="connsiteY20" fmla="*/ 953328 h 1300939"/>
              <a:gd name="connsiteX21" fmla="*/ 1429500 w 1488560"/>
              <a:gd name="connsiteY21" fmla="*/ 993111 h 1300939"/>
              <a:gd name="connsiteX22" fmla="*/ 1387594 w 1488560"/>
              <a:gd name="connsiteY22" fmla="*/ 1017266 h 1300939"/>
              <a:gd name="connsiteX23" fmla="*/ 1347819 w 1488560"/>
              <a:gd name="connsiteY23" fmla="*/ 1052076 h 1300939"/>
              <a:gd name="connsiteX24" fmla="*/ 668086 w 1488560"/>
              <a:gd name="connsiteY24" fmla="*/ 1295752 h 1300939"/>
              <a:gd name="connsiteX25" fmla="*/ 593507 w 1488560"/>
              <a:gd name="connsiteY25" fmla="*/ 1300014 h 1300939"/>
              <a:gd name="connsiteX26" fmla="*/ 593507 w 1488560"/>
              <a:gd name="connsiteY26" fmla="*/ 1277281 h 1300939"/>
              <a:gd name="connsiteX27" fmla="*/ 562965 w 1488560"/>
              <a:gd name="connsiteY27" fmla="*/ 1265203 h 1300939"/>
              <a:gd name="connsiteX28" fmla="*/ 561544 w 1488560"/>
              <a:gd name="connsiteY28" fmla="*/ 1238207 h 1300939"/>
              <a:gd name="connsiteX29" fmla="*/ 452162 w 1488560"/>
              <a:gd name="connsiteY29" fmla="*/ 1266624 h 1300939"/>
              <a:gd name="connsiteX30" fmla="*/ 393209 w 1488560"/>
              <a:gd name="connsiteY30" fmla="*/ 1215474 h 1300939"/>
              <a:gd name="connsiteX31" fmla="*/ 361957 w 1488560"/>
              <a:gd name="connsiteY31" fmla="*/ 1165744 h 1300939"/>
              <a:gd name="connsiteX32" fmla="*/ 344911 w 1488560"/>
              <a:gd name="connsiteY32" fmla="*/ 1100385 h 1300939"/>
              <a:gd name="connsiteX33" fmla="*/ 273883 w 1488560"/>
              <a:gd name="connsiteY33" fmla="*/ 1109621 h 1300939"/>
              <a:gd name="connsiteX34" fmla="*/ 214220 w 1488560"/>
              <a:gd name="connsiteY34" fmla="*/ 1054208 h 1300939"/>
              <a:gd name="connsiteX35" fmla="*/ 117623 w 1488560"/>
              <a:gd name="connsiteY35" fmla="*/ 1032185 h 1300939"/>
              <a:gd name="connsiteX36" fmla="*/ 108389 w 1488560"/>
              <a:gd name="connsiteY36" fmla="*/ 971799 h 1300939"/>
              <a:gd name="connsiteX37" fmla="*/ 69324 w 1488560"/>
              <a:gd name="connsiteY37" fmla="*/ 953328 h 1300939"/>
              <a:gd name="connsiteX38" fmla="*/ 117623 w 1488560"/>
              <a:gd name="connsiteY38" fmla="*/ 886548 h 1300939"/>
              <a:gd name="connsiteX39" fmla="*/ 100576 w 1488560"/>
              <a:gd name="connsiteY39" fmla="*/ 839660 h 1300939"/>
              <a:gd name="connsiteX40" fmla="*/ 77137 w 1488560"/>
              <a:gd name="connsiteY40" fmla="*/ 804139 h 1300939"/>
              <a:gd name="connsiteX41" fmla="*/ 70745 w 1488560"/>
              <a:gd name="connsiteY41" fmla="*/ 756540 h 1300939"/>
              <a:gd name="connsiteX42" fmla="*/ 38072 w 1488560"/>
              <a:gd name="connsiteY42" fmla="*/ 740201 h 1300939"/>
              <a:gd name="connsiteX43" fmla="*/ 23866 w 1488560"/>
              <a:gd name="connsiteY43" fmla="*/ 737359 h 1300939"/>
              <a:gd name="connsiteX44" fmla="*/ 14633 w 1488560"/>
              <a:gd name="connsiteY44" fmla="*/ 664896 h 1300939"/>
              <a:gd name="connsiteX45" fmla="*/ 23156 w 1488560"/>
              <a:gd name="connsiteY45" fmla="*/ 611614 h 1300939"/>
              <a:gd name="connsiteX46" fmla="*/ 40913 w 1488560"/>
              <a:gd name="connsiteY46" fmla="*/ 561174 h 1300939"/>
              <a:gd name="connsiteX47" fmla="*/ 435116 w 1488560"/>
              <a:gd name="connsiteY47" fmla="*/ 258534 h 1300939"/>
              <a:gd name="connsiteX48" fmla="*/ 1205054 w 1488560"/>
              <a:gd name="connsiteY48" fmla="*/ 2781 h 1300939"/>
              <a:gd name="connsiteX49" fmla="*/ 1248321 w 1488560"/>
              <a:gd name="connsiteY49" fmla="*/ 135 h 1300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1488560" h="1300939">
                <a:moveTo>
                  <a:pt x="1248321" y="135"/>
                </a:moveTo>
                <a:cubicBezTo>
                  <a:pt x="1333203" y="-1992"/>
                  <a:pt x="1312927" y="21785"/>
                  <a:pt x="1342137" y="20542"/>
                </a:cubicBezTo>
                <a:cubicBezTo>
                  <a:pt x="1375519" y="19831"/>
                  <a:pt x="1398959" y="35461"/>
                  <a:pt x="1378361" y="66009"/>
                </a:cubicBezTo>
                <a:cubicBezTo>
                  <a:pt x="1357052" y="97268"/>
                  <a:pt x="1396828" y="101530"/>
                  <a:pt x="1398959" y="113607"/>
                </a:cubicBezTo>
                <a:cubicBezTo>
                  <a:pt x="1401089" y="126395"/>
                  <a:pt x="1409613" y="188202"/>
                  <a:pt x="1382622" y="219460"/>
                </a:cubicBezTo>
                <a:cubicBezTo>
                  <a:pt x="1355632" y="250719"/>
                  <a:pt x="1398248" y="227275"/>
                  <a:pt x="1396828" y="250009"/>
                </a:cubicBezTo>
                <a:cubicBezTo>
                  <a:pt x="1396117" y="272032"/>
                  <a:pt x="1387594" y="337391"/>
                  <a:pt x="1365576" y="352309"/>
                </a:cubicBezTo>
                <a:cubicBezTo>
                  <a:pt x="1343557" y="366518"/>
                  <a:pt x="1334324" y="395645"/>
                  <a:pt x="1342847" y="401329"/>
                </a:cubicBezTo>
                <a:cubicBezTo>
                  <a:pt x="1351370" y="406302"/>
                  <a:pt x="1364865" y="415537"/>
                  <a:pt x="1340716" y="429746"/>
                </a:cubicBezTo>
                <a:cubicBezTo>
                  <a:pt x="1317277" y="443244"/>
                  <a:pt x="1293128" y="488711"/>
                  <a:pt x="1360604" y="460294"/>
                </a:cubicBezTo>
                <a:cubicBezTo>
                  <a:pt x="1428080" y="431166"/>
                  <a:pt x="1409613" y="475923"/>
                  <a:pt x="1420977" y="478765"/>
                </a:cubicBezTo>
                <a:cubicBezTo>
                  <a:pt x="1433052" y="480896"/>
                  <a:pt x="1467145" y="466688"/>
                  <a:pt x="1469986" y="473081"/>
                </a:cubicBezTo>
                <a:cubicBezTo>
                  <a:pt x="1472117" y="480186"/>
                  <a:pt x="1453650" y="519259"/>
                  <a:pt x="1460042" y="528494"/>
                </a:cubicBezTo>
                <a:cubicBezTo>
                  <a:pt x="1465724" y="537730"/>
                  <a:pt x="1485612" y="524942"/>
                  <a:pt x="1487033" y="554780"/>
                </a:cubicBezTo>
                <a:cubicBezTo>
                  <a:pt x="1488453" y="584618"/>
                  <a:pt x="1490584" y="659212"/>
                  <a:pt x="1431631" y="676973"/>
                </a:cubicBezTo>
                <a:cubicBezTo>
                  <a:pt x="1431631" y="676973"/>
                  <a:pt x="1414585" y="694734"/>
                  <a:pt x="1425949" y="718888"/>
                </a:cubicBezTo>
                <a:cubicBezTo>
                  <a:pt x="1437313" y="742332"/>
                  <a:pt x="1460752" y="754409"/>
                  <a:pt x="1445837" y="791351"/>
                </a:cubicBezTo>
                <a:cubicBezTo>
                  <a:pt x="1430921" y="829003"/>
                  <a:pt x="1457201" y="835397"/>
                  <a:pt x="1460752" y="835397"/>
                </a:cubicBezTo>
                <a:cubicBezTo>
                  <a:pt x="1465014" y="835397"/>
                  <a:pt x="1516864" y="856000"/>
                  <a:pt x="1467145" y="870208"/>
                </a:cubicBezTo>
                <a:cubicBezTo>
                  <a:pt x="1417426" y="884416"/>
                  <a:pt x="1436603" y="914965"/>
                  <a:pt x="1436603" y="914965"/>
                </a:cubicBezTo>
                <a:cubicBezTo>
                  <a:pt x="1436603" y="914965"/>
                  <a:pt x="1464304" y="934146"/>
                  <a:pt x="1460042" y="953328"/>
                </a:cubicBezTo>
                <a:cubicBezTo>
                  <a:pt x="1455070" y="972509"/>
                  <a:pt x="1428080" y="966115"/>
                  <a:pt x="1429500" y="993111"/>
                </a:cubicBezTo>
                <a:cubicBezTo>
                  <a:pt x="1430211" y="1020107"/>
                  <a:pt x="1411744" y="1005188"/>
                  <a:pt x="1387594" y="1017266"/>
                </a:cubicBezTo>
                <a:cubicBezTo>
                  <a:pt x="1363445" y="1029343"/>
                  <a:pt x="1391146" y="1034316"/>
                  <a:pt x="1347819" y="1052076"/>
                </a:cubicBezTo>
                <a:cubicBezTo>
                  <a:pt x="1304492" y="1069837"/>
                  <a:pt x="668086" y="1295752"/>
                  <a:pt x="668086" y="1295752"/>
                </a:cubicBezTo>
                <a:cubicBezTo>
                  <a:pt x="668086" y="1295752"/>
                  <a:pt x="639675" y="1303566"/>
                  <a:pt x="593507" y="1300014"/>
                </a:cubicBezTo>
                <a:cubicBezTo>
                  <a:pt x="593507" y="1300014"/>
                  <a:pt x="583563" y="1291489"/>
                  <a:pt x="593507" y="1277281"/>
                </a:cubicBezTo>
                <a:cubicBezTo>
                  <a:pt x="603451" y="1263782"/>
                  <a:pt x="568647" y="1270887"/>
                  <a:pt x="562965" y="1265203"/>
                </a:cubicBezTo>
                <a:cubicBezTo>
                  <a:pt x="556573" y="1259520"/>
                  <a:pt x="570068" y="1253126"/>
                  <a:pt x="561544" y="1238207"/>
                </a:cubicBezTo>
                <a:cubicBezTo>
                  <a:pt x="552311" y="1223999"/>
                  <a:pt x="493358" y="1266624"/>
                  <a:pt x="452162" y="1266624"/>
                </a:cubicBezTo>
                <a:cubicBezTo>
                  <a:pt x="411676" y="1267335"/>
                  <a:pt x="393209" y="1215474"/>
                  <a:pt x="393209" y="1215474"/>
                </a:cubicBezTo>
                <a:cubicBezTo>
                  <a:pt x="393209" y="1215474"/>
                  <a:pt x="404574" y="1179953"/>
                  <a:pt x="361957" y="1165744"/>
                </a:cubicBezTo>
                <a:cubicBezTo>
                  <a:pt x="319341" y="1151536"/>
                  <a:pt x="350593" y="1113883"/>
                  <a:pt x="344911" y="1100385"/>
                </a:cubicBezTo>
                <a:cubicBezTo>
                  <a:pt x="339228" y="1087598"/>
                  <a:pt x="324313" y="1119567"/>
                  <a:pt x="273883" y="1109621"/>
                </a:cubicBezTo>
                <a:cubicBezTo>
                  <a:pt x="222743" y="1099675"/>
                  <a:pt x="200725" y="1108200"/>
                  <a:pt x="214220" y="1054208"/>
                </a:cubicBezTo>
                <a:cubicBezTo>
                  <a:pt x="214220" y="1054208"/>
                  <a:pt x="144613" y="1057760"/>
                  <a:pt x="117623" y="1032185"/>
                </a:cubicBezTo>
                <a:cubicBezTo>
                  <a:pt x="89922" y="1005899"/>
                  <a:pt x="118333" y="996663"/>
                  <a:pt x="108389" y="971799"/>
                </a:cubicBezTo>
                <a:cubicBezTo>
                  <a:pt x="98445" y="946934"/>
                  <a:pt x="79268" y="978192"/>
                  <a:pt x="69324" y="953328"/>
                </a:cubicBezTo>
                <a:cubicBezTo>
                  <a:pt x="59380" y="929173"/>
                  <a:pt x="117623" y="886548"/>
                  <a:pt x="117623" y="886548"/>
                </a:cubicBezTo>
                <a:cubicBezTo>
                  <a:pt x="117623" y="886548"/>
                  <a:pt x="92763" y="863104"/>
                  <a:pt x="100576" y="839660"/>
                </a:cubicBezTo>
                <a:cubicBezTo>
                  <a:pt x="108389" y="816216"/>
                  <a:pt x="104127" y="806980"/>
                  <a:pt x="77137" y="804139"/>
                </a:cubicBezTo>
                <a:cubicBezTo>
                  <a:pt x="49436" y="801297"/>
                  <a:pt x="49436" y="775722"/>
                  <a:pt x="70745" y="756540"/>
                </a:cubicBezTo>
                <a:cubicBezTo>
                  <a:pt x="92053" y="737359"/>
                  <a:pt x="52277" y="743042"/>
                  <a:pt x="38072" y="740201"/>
                </a:cubicBezTo>
                <a:cubicBezTo>
                  <a:pt x="23866" y="737359"/>
                  <a:pt x="23866" y="737359"/>
                  <a:pt x="23866" y="737359"/>
                </a:cubicBezTo>
                <a:cubicBezTo>
                  <a:pt x="23866" y="737359"/>
                  <a:pt x="-23012" y="709652"/>
                  <a:pt x="14633" y="664896"/>
                </a:cubicBezTo>
                <a:cubicBezTo>
                  <a:pt x="14633" y="664896"/>
                  <a:pt x="1138" y="630795"/>
                  <a:pt x="23156" y="611614"/>
                </a:cubicBezTo>
                <a:cubicBezTo>
                  <a:pt x="45175" y="591722"/>
                  <a:pt x="31679" y="574672"/>
                  <a:pt x="40913" y="561174"/>
                </a:cubicBezTo>
                <a:cubicBezTo>
                  <a:pt x="49436" y="548386"/>
                  <a:pt x="112651" y="433298"/>
                  <a:pt x="435116" y="258534"/>
                </a:cubicBezTo>
                <a:cubicBezTo>
                  <a:pt x="757580" y="83770"/>
                  <a:pt x="1069391" y="14858"/>
                  <a:pt x="1205054" y="2781"/>
                </a:cubicBezTo>
                <a:cubicBezTo>
                  <a:pt x="1221923" y="1272"/>
                  <a:pt x="1236195" y="439"/>
                  <a:pt x="1248321" y="13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7"/>
          </p:nvPr>
        </p:nvSpPr>
        <p:spPr>
          <a:xfrm flipH="1">
            <a:off x="6060622" y="3974721"/>
            <a:ext cx="1488560" cy="1300939"/>
          </a:xfrm>
          <a:custGeom>
            <a:avLst/>
            <a:gdLst>
              <a:gd name="connsiteX0" fmla="*/ 1248321 w 1488560"/>
              <a:gd name="connsiteY0" fmla="*/ 135 h 1300939"/>
              <a:gd name="connsiteX1" fmla="*/ 1342137 w 1488560"/>
              <a:gd name="connsiteY1" fmla="*/ 20542 h 1300939"/>
              <a:gd name="connsiteX2" fmla="*/ 1378361 w 1488560"/>
              <a:gd name="connsiteY2" fmla="*/ 66009 h 1300939"/>
              <a:gd name="connsiteX3" fmla="*/ 1398959 w 1488560"/>
              <a:gd name="connsiteY3" fmla="*/ 113607 h 1300939"/>
              <a:gd name="connsiteX4" fmla="*/ 1382622 w 1488560"/>
              <a:gd name="connsiteY4" fmla="*/ 219460 h 1300939"/>
              <a:gd name="connsiteX5" fmla="*/ 1396828 w 1488560"/>
              <a:gd name="connsiteY5" fmla="*/ 250009 h 1300939"/>
              <a:gd name="connsiteX6" fmla="*/ 1365576 w 1488560"/>
              <a:gd name="connsiteY6" fmla="*/ 352310 h 1300939"/>
              <a:gd name="connsiteX7" fmla="*/ 1342847 w 1488560"/>
              <a:gd name="connsiteY7" fmla="*/ 401329 h 1300939"/>
              <a:gd name="connsiteX8" fmla="*/ 1340716 w 1488560"/>
              <a:gd name="connsiteY8" fmla="*/ 429746 h 1300939"/>
              <a:gd name="connsiteX9" fmla="*/ 1360604 w 1488560"/>
              <a:gd name="connsiteY9" fmla="*/ 460294 h 1300939"/>
              <a:gd name="connsiteX10" fmla="*/ 1420977 w 1488560"/>
              <a:gd name="connsiteY10" fmla="*/ 478765 h 1300939"/>
              <a:gd name="connsiteX11" fmla="*/ 1469986 w 1488560"/>
              <a:gd name="connsiteY11" fmla="*/ 473082 h 1300939"/>
              <a:gd name="connsiteX12" fmla="*/ 1460042 w 1488560"/>
              <a:gd name="connsiteY12" fmla="*/ 528495 h 1300939"/>
              <a:gd name="connsiteX13" fmla="*/ 1487033 w 1488560"/>
              <a:gd name="connsiteY13" fmla="*/ 554780 h 1300939"/>
              <a:gd name="connsiteX14" fmla="*/ 1431631 w 1488560"/>
              <a:gd name="connsiteY14" fmla="*/ 676973 h 1300939"/>
              <a:gd name="connsiteX15" fmla="*/ 1425949 w 1488560"/>
              <a:gd name="connsiteY15" fmla="*/ 718888 h 1300939"/>
              <a:gd name="connsiteX16" fmla="*/ 1445837 w 1488560"/>
              <a:gd name="connsiteY16" fmla="*/ 791351 h 1300939"/>
              <a:gd name="connsiteX17" fmla="*/ 1460752 w 1488560"/>
              <a:gd name="connsiteY17" fmla="*/ 835397 h 1300939"/>
              <a:gd name="connsiteX18" fmla="*/ 1467145 w 1488560"/>
              <a:gd name="connsiteY18" fmla="*/ 870208 h 1300939"/>
              <a:gd name="connsiteX19" fmla="*/ 1436603 w 1488560"/>
              <a:gd name="connsiteY19" fmla="*/ 914965 h 1300939"/>
              <a:gd name="connsiteX20" fmla="*/ 1460042 w 1488560"/>
              <a:gd name="connsiteY20" fmla="*/ 953328 h 1300939"/>
              <a:gd name="connsiteX21" fmla="*/ 1429500 w 1488560"/>
              <a:gd name="connsiteY21" fmla="*/ 993111 h 1300939"/>
              <a:gd name="connsiteX22" fmla="*/ 1387594 w 1488560"/>
              <a:gd name="connsiteY22" fmla="*/ 1017266 h 1300939"/>
              <a:gd name="connsiteX23" fmla="*/ 1347819 w 1488560"/>
              <a:gd name="connsiteY23" fmla="*/ 1052076 h 1300939"/>
              <a:gd name="connsiteX24" fmla="*/ 668086 w 1488560"/>
              <a:gd name="connsiteY24" fmla="*/ 1295752 h 1300939"/>
              <a:gd name="connsiteX25" fmla="*/ 593507 w 1488560"/>
              <a:gd name="connsiteY25" fmla="*/ 1300014 h 1300939"/>
              <a:gd name="connsiteX26" fmla="*/ 593507 w 1488560"/>
              <a:gd name="connsiteY26" fmla="*/ 1277281 h 1300939"/>
              <a:gd name="connsiteX27" fmla="*/ 562965 w 1488560"/>
              <a:gd name="connsiteY27" fmla="*/ 1265203 h 1300939"/>
              <a:gd name="connsiteX28" fmla="*/ 561544 w 1488560"/>
              <a:gd name="connsiteY28" fmla="*/ 1238207 h 1300939"/>
              <a:gd name="connsiteX29" fmla="*/ 452162 w 1488560"/>
              <a:gd name="connsiteY29" fmla="*/ 1266624 h 1300939"/>
              <a:gd name="connsiteX30" fmla="*/ 393209 w 1488560"/>
              <a:gd name="connsiteY30" fmla="*/ 1215474 h 1300939"/>
              <a:gd name="connsiteX31" fmla="*/ 361957 w 1488560"/>
              <a:gd name="connsiteY31" fmla="*/ 1165744 h 1300939"/>
              <a:gd name="connsiteX32" fmla="*/ 344911 w 1488560"/>
              <a:gd name="connsiteY32" fmla="*/ 1100385 h 1300939"/>
              <a:gd name="connsiteX33" fmla="*/ 273883 w 1488560"/>
              <a:gd name="connsiteY33" fmla="*/ 1109621 h 1300939"/>
              <a:gd name="connsiteX34" fmla="*/ 214220 w 1488560"/>
              <a:gd name="connsiteY34" fmla="*/ 1054208 h 1300939"/>
              <a:gd name="connsiteX35" fmla="*/ 117623 w 1488560"/>
              <a:gd name="connsiteY35" fmla="*/ 1032185 h 1300939"/>
              <a:gd name="connsiteX36" fmla="*/ 108389 w 1488560"/>
              <a:gd name="connsiteY36" fmla="*/ 971799 h 1300939"/>
              <a:gd name="connsiteX37" fmla="*/ 69324 w 1488560"/>
              <a:gd name="connsiteY37" fmla="*/ 953328 h 1300939"/>
              <a:gd name="connsiteX38" fmla="*/ 117623 w 1488560"/>
              <a:gd name="connsiteY38" fmla="*/ 886548 h 1300939"/>
              <a:gd name="connsiteX39" fmla="*/ 100576 w 1488560"/>
              <a:gd name="connsiteY39" fmla="*/ 839660 h 1300939"/>
              <a:gd name="connsiteX40" fmla="*/ 77137 w 1488560"/>
              <a:gd name="connsiteY40" fmla="*/ 804139 h 1300939"/>
              <a:gd name="connsiteX41" fmla="*/ 70745 w 1488560"/>
              <a:gd name="connsiteY41" fmla="*/ 756540 h 1300939"/>
              <a:gd name="connsiteX42" fmla="*/ 38072 w 1488560"/>
              <a:gd name="connsiteY42" fmla="*/ 740201 h 1300939"/>
              <a:gd name="connsiteX43" fmla="*/ 23866 w 1488560"/>
              <a:gd name="connsiteY43" fmla="*/ 737359 h 1300939"/>
              <a:gd name="connsiteX44" fmla="*/ 14633 w 1488560"/>
              <a:gd name="connsiteY44" fmla="*/ 664896 h 1300939"/>
              <a:gd name="connsiteX45" fmla="*/ 23156 w 1488560"/>
              <a:gd name="connsiteY45" fmla="*/ 611614 h 1300939"/>
              <a:gd name="connsiteX46" fmla="*/ 40913 w 1488560"/>
              <a:gd name="connsiteY46" fmla="*/ 561174 h 1300939"/>
              <a:gd name="connsiteX47" fmla="*/ 435116 w 1488560"/>
              <a:gd name="connsiteY47" fmla="*/ 258534 h 1300939"/>
              <a:gd name="connsiteX48" fmla="*/ 1205054 w 1488560"/>
              <a:gd name="connsiteY48" fmla="*/ 2781 h 1300939"/>
              <a:gd name="connsiteX49" fmla="*/ 1248321 w 1488560"/>
              <a:gd name="connsiteY49" fmla="*/ 135 h 1300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1488560" h="1300939">
                <a:moveTo>
                  <a:pt x="1248321" y="135"/>
                </a:moveTo>
                <a:cubicBezTo>
                  <a:pt x="1333203" y="-1992"/>
                  <a:pt x="1312927" y="21785"/>
                  <a:pt x="1342137" y="20542"/>
                </a:cubicBezTo>
                <a:cubicBezTo>
                  <a:pt x="1375519" y="19831"/>
                  <a:pt x="1398959" y="35461"/>
                  <a:pt x="1378361" y="66009"/>
                </a:cubicBezTo>
                <a:cubicBezTo>
                  <a:pt x="1357052" y="97268"/>
                  <a:pt x="1396828" y="101530"/>
                  <a:pt x="1398959" y="113607"/>
                </a:cubicBezTo>
                <a:cubicBezTo>
                  <a:pt x="1401089" y="126395"/>
                  <a:pt x="1409613" y="188202"/>
                  <a:pt x="1382622" y="219460"/>
                </a:cubicBezTo>
                <a:cubicBezTo>
                  <a:pt x="1355632" y="250719"/>
                  <a:pt x="1398248" y="227275"/>
                  <a:pt x="1396828" y="250009"/>
                </a:cubicBezTo>
                <a:cubicBezTo>
                  <a:pt x="1396117" y="272032"/>
                  <a:pt x="1387594" y="337391"/>
                  <a:pt x="1365576" y="352310"/>
                </a:cubicBezTo>
                <a:cubicBezTo>
                  <a:pt x="1343557" y="366518"/>
                  <a:pt x="1334324" y="395645"/>
                  <a:pt x="1342847" y="401329"/>
                </a:cubicBezTo>
                <a:cubicBezTo>
                  <a:pt x="1351370" y="406302"/>
                  <a:pt x="1364865" y="415537"/>
                  <a:pt x="1340716" y="429746"/>
                </a:cubicBezTo>
                <a:cubicBezTo>
                  <a:pt x="1317277" y="443244"/>
                  <a:pt x="1293128" y="488711"/>
                  <a:pt x="1360604" y="460294"/>
                </a:cubicBezTo>
                <a:cubicBezTo>
                  <a:pt x="1428080" y="431167"/>
                  <a:pt x="1409613" y="475923"/>
                  <a:pt x="1420977" y="478765"/>
                </a:cubicBezTo>
                <a:cubicBezTo>
                  <a:pt x="1433052" y="480896"/>
                  <a:pt x="1467145" y="466688"/>
                  <a:pt x="1469986" y="473082"/>
                </a:cubicBezTo>
                <a:cubicBezTo>
                  <a:pt x="1472117" y="480186"/>
                  <a:pt x="1453650" y="519259"/>
                  <a:pt x="1460042" y="528495"/>
                </a:cubicBezTo>
                <a:cubicBezTo>
                  <a:pt x="1465724" y="537730"/>
                  <a:pt x="1485612" y="524942"/>
                  <a:pt x="1487033" y="554780"/>
                </a:cubicBezTo>
                <a:cubicBezTo>
                  <a:pt x="1488453" y="584618"/>
                  <a:pt x="1490584" y="659212"/>
                  <a:pt x="1431631" y="676973"/>
                </a:cubicBezTo>
                <a:cubicBezTo>
                  <a:pt x="1431631" y="676973"/>
                  <a:pt x="1414585" y="694734"/>
                  <a:pt x="1425949" y="718888"/>
                </a:cubicBezTo>
                <a:cubicBezTo>
                  <a:pt x="1437313" y="742332"/>
                  <a:pt x="1460752" y="754409"/>
                  <a:pt x="1445837" y="791351"/>
                </a:cubicBezTo>
                <a:cubicBezTo>
                  <a:pt x="1430921" y="829004"/>
                  <a:pt x="1457201" y="835397"/>
                  <a:pt x="1460752" y="835397"/>
                </a:cubicBezTo>
                <a:cubicBezTo>
                  <a:pt x="1465014" y="835397"/>
                  <a:pt x="1516864" y="856000"/>
                  <a:pt x="1467145" y="870208"/>
                </a:cubicBezTo>
                <a:cubicBezTo>
                  <a:pt x="1417426" y="884417"/>
                  <a:pt x="1436603" y="914965"/>
                  <a:pt x="1436603" y="914965"/>
                </a:cubicBezTo>
                <a:cubicBezTo>
                  <a:pt x="1436603" y="914965"/>
                  <a:pt x="1464304" y="934146"/>
                  <a:pt x="1460042" y="953328"/>
                </a:cubicBezTo>
                <a:cubicBezTo>
                  <a:pt x="1455070" y="972509"/>
                  <a:pt x="1428080" y="966115"/>
                  <a:pt x="1429500" y="993111"/>
                </a:cubicBezTo>
                <a:cubicBezTo>
                  <a:pt x="1430211" y="1020107"/>
                  <a:pt x="1411744" y="1005188"/>
                  <a:pt x="1387594" y="1017266"/>
                </a:cubicBezTo>
                <a:cubicBezTo>
                  <a:pt x="1363445" y="1029343"/>
                  <a:pt x="1391146" y="1034316"/>
                  <a:pt x="1347819" y="1052076"/>
                </a:cubicBezTo>
                <a:cubicBezTo>
                  <a:pt x="1304492" y="1069837"/>
                  <a:pt x="668086" y="1295752"/>
                  <a:pt x="668086" y="1295752"/>
                </a:cubicBezTo>
                <a:cubicBezTo>
                  <a:pt x="668086" y="1295752"/>
                  <a:pt x="639675" y="1303566"/>
                  <a:pt x="593507" y="1300014"/>
                </a:cubicBezTo>
                <a:cubicBezTo>
                  <a:pt x="593507" y="1300014"/>
                  <a:pt x="583563" y="1291489"/>
                  <a:pt x="593507" y="1277281"/>
                </a:cubicBezTo>
                <a:cubicBezTo>
                  <a:pt x="603451" y="1263782"/>
                  <a:pt x="568647" y="1270887"/>
                  <a:pt x="562965" y="1265203"/>
                </a:cubicBezTo>
                <a:cubicBezTo>
                  <a:pt x="556573" y="1259520"/>
                  <a:pt x="570068" y="1253126"/>
                  <a:pt x="561544" y="1238207"/>
                </a:cubicBezTo>
                <a:cubicBezTo>
                  <a:pt x="552311" y="1223999"/>
                  <a:pt x="493358" y="1266624"/>
                  <a:pt x="452162" y="1266624"/>
                </a:cubicBezTo>
                <a:cubicBezTo>
                  <a:pt x="411676" y="1267335"/>
                  <a:pt x="393209" y="1215474"/>
                  <a:pt x="393209" y="1215474"/>
                </a:cubicBezTo>
                <a:cubicBezTo>
                  <a:pt x="393209" y="1215474"/>
                  <a:pt x="404574" y="1179953"/>
                  <a:pt x="361957" y="1165744"/>
                </a:cubicBezTo>
                <a:cubicBezTo>
                  <a:pt x="319341" y="1151536"/>
                  <a:pt x="350593" y="1113883"/>
                  <a:pt x="344911" y="1100385"/>
                </a:cubicBezTo>
                <a:cubicBezTo>
                  <a:pt x="339228" y="1087598"/>
                  <a:pt x="324313" y="1119567"/>
                  <a:pt x="273883" y="1109621"/>
                </a:cubicBezTo>
                <a:cubicBezTo>
                  <a:pt x="222743" y="1099675"/>
                  <a:pt x="200725" y="1108200"/>
                  <a:pt x="214220" y="1054208"/>
                </a:cubicBezTo>
                <a:cubicBezTo>
                  <a:pt x="214220" y="1054208"/>
                  <a:pt x="144613" y="1057760"/>
                  <a:pt x="117623" y="1032185"/>
                </a:cubicBezTo>
                <a:cubicBezTo>
                  <a:pt x="89922" y="1005899"/>
                  <a:pt x="118333" y="996663"/>
                  <a:pt x="108389" y="971799"/>
                </a:cubicBezTo>
                <a:cubicBezTo>
                  <a:pt x="98445" y="946934"/>
                  <a:pt x="79268" y="978192"/>
                  <a:pt x="69324" y="953328"/>
                </a:cubicBezTo>
                <a:cubicBezTo>
                  <a:pt x="59380" y="929173"/>
                  <a:pt x="117623" y="886548"/>
                  <a:pt x="117623" y="886548"/>
                </a:cubicBezTo>
                <a:cubicBezTo>
                  <a:pt x="117623" y="886548"/>
                  <a:pt x="92763" y="863104"/>
                  <a:pt x="100576" y="839660"/>
                </a:cubicBezTo>
                <a:cubicBezTo>
                  <a:pt x="108389" y="816216"/>
                  <a:pt x="104127" y="806980"/>
                  <a:pt x="77137" y="804139"/>
                </a:cubicBezTo>
                <a:cubicBezTo>
                  <a:pt x="49436" y="801297"/>
                  <a:pt x="49436" y="775722"/>
                  <a:pt x="70745" y="756540"/>
                </a:cubicBezTo>
                <a:cubicBezTo>
                  <a:pt x="92053" y="737359"/>
                  <a:pt x="52277" y="743042"/>
                  <a:pt x="38072" y="740201"/>
                </a:cubicBezTo>
                <a:cubicBezTo>
                  <a:pt x="23866" y="737359"/>
                  <a:pt x="23866" y="737359"/>
                  <a:pt x="23866" y="737359"/>
                </a:cubicBezTo>
                <a:cubicBezTo>
                  <a:pt x="23866" y="737359"/>
                  <a:pt x="-23012" y="709652"/>
                  <a:pt x="14633" y="664896"/>
                </a:cubicBezTo>
                <a:cubicBezTo>
                  <a:pt x="14633" y="664896"/>
                  <a:pt x="1138" y="630795"/>
                  <a:pt x="23156" y="611614"/>
                </a:cubicBezTo>
                <a:cubicBezTo>
                  <a:pt x="45175" y="591722"/>
                  <a:pt x="31679" y="574672"/>
                  <a:pt x="40913" y="561174"/>
                </a:cubicBezTo>
                <a:cubicBezTo>
                  <a:pt x="49436" y="548386"/>
                  <a:pt x="112651" y="433298"/>
                  <a:pt x="435116" y="258534"/>
                </a:cubicBezTo>
                <a:cubicBezTo>
                  <a:pt x="757580" y="83770"/>
                  <a:pt x="1069391" y="14859"/>
                  <a:pt x="1205054" y="2781"/>
                </a:cubicBezTo>
                <a:cubicBezTo>
                  <a:pt x="1221923" y="1272"/>
                  <a:pt x="1236195" y="439"/>
                  <a:pt x="1248321" y="13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3813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3852636" y="-18020"/>
            <a:ext cx="8339364" cy="6895070"/>
          </a:xfrm>
          <a:custGeom>
            <a:avLst/>
            <a:gdLst>
              <a:gd name="connsiteX0" fmla="*/ 4129314 w 8339364"/>
              <a:gd name="connsiteY0" fmla="*/ 0 h 6877050"/>
              <a:gd name="connsiteX1" fmla="*/ 8339364 w 8339364"/>
              <a:gd name="connsiteY1" fmla="*/ 19050 h 6877050"/>
              <a:gd name="connsiteX2" fmla="*/ 8339364 w 8339364"/>
              <a:gd name="connsiteY2" fmla="*/ 6877050 h 6877050"/>
              <a:gd name="connsiteX3" fmla="*/ 0 w 8339364"/>
              <a:gd name="connsiteY3" fmla="*/ 6877050 h 6877050"/>
              <a:gd name="connsiteX0" fmla="*/ 4129314 w 8339364"/>
              <a:gd name="connsiteY0" fmla="*/ 18020 h 6895070"/>
              <a:gd name="connsiteX1" fmla="*/ 8339364 w 8339364"/>
              <a:gd name="connsiteY1" fmla="*/ 0 h 6895070"/>
              <a:gd name="connsiteX2" fmla="*/ 8339364 w 8339364"/>
              <a:gd name="connsiteY2" fmla="*/ 6895070 h 6895070"/>
              <a:gd name="connsiteX3" fmla="*/ 0 w 8339364"/>
              <a:gd name="connsiteY3" fmla="*/ 6895070 h 6895070"/>
              <a:gd name="connsiteX4" fmla="*/ 4129314 w 8339364"/>
              <a:gd name="connsiteY4" fmla="*/ 18020 h 6895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39364" h="6895070">
                <a:moveTo>
                  <a:pt x="4129314" y="18020"/>
                </a:moveTo>
                <a:lnTo>
                  <a:pt x="8339364" y="0"/>
                </a:lnTo>
                <a:lnTo>
                  <a:pt x="8339364" y="6895070"/>
                </a:lnTo>
                <a:lnTo>
                  <a:pt x="0" y="6895070"/>
                </a:lnTo>
                <a:lnTo>
                  <a:pt x="4129314" y="18020"/>
                </a:lnTo>
                <a:close/>
              </a:path>
            </a:pathLst>
          </a:custGeom>
        </p:spPr>
        <p:txBody>
          <a:bodyPr wrap="square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Picture </a:t>
            </a:r>
          </a:p>
        </p:txBody>
      </p:sp>
    </p:spTree>
    <p:extLst>
      <p:ext uri="{BB962C8B-B14F-4D97-AF65-F5344CB8AC3E}">
        <p14:creationId xmlns:p14="http://schemas.microsoft.com/office/powerpoint/2010/main" val="8865567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  <p:sp>
        <p:nvSpPr>
          <p:cNvPr id="5" name="Picture Placeholder 22"/>
          <p:cNvSpPr>
            <a:spLocks noGrp="1"/>
          </p:cNvSpPr>
          <p:nvPr>
            <p:ph type="pic" sz="quarter" idx="14" hasCustomPrompt="1"/>
          </p:nvPr>
        </p:nvSpPr>
        <p:spPr>
          <a:xfrm>
            <a:off x="369248" y="1329428"/>
            <a:ext cx="4806602" cy="4199144"/>
          </a:xfrm>
          <a:custGeom>
            <a:avLst/>
            <a:gdLst>
              <a:gd name="connsiteX0" fmla="*/ 1899543 w 2264976"/>
              <a:gd name="connsiteY0" fmla="*/ 240 h 1978729"/>
              <a:gd name="connsiteX1" fmla="*/ 2042835 w 2264976"/>
              <a:gd name="connsiteY1" fmla="*/ 31837 h 1978729"/>
              <a:gd name="connsiteX2" fmla="*/ 2096914 w 2264976"/>
              <a:gd name="connsiteY2" fmla="*/ 100959 h 1978729"/>
              <a:gd name="connsiteX3" fmla="*/ 2128830 w 2264976"/>
              <a:gd name="connsiteY3" fmla="*/ 173625 h 1978729"/>
              <a:gd name="connsiteX4" fmla="*/ 2104007 w 2264976"/>
              <a:gd name="connsiteY4" fmla="*/ 334023 h 1978729"/>
              <a:gd name="connsiteX5" fmla="*/ 2126171 w 2264976"/>
              <a:gd name="connsiteY5" fmla="*/ 380104 h 1978729"/>
              <a:gd name="connsiteX6" fmla="*/ 2078297 w 2264976"/>
              <a:gd name="connsiteY6" fmla="*/ 535185 h 1978729"/>
              <a:gd name="connsiteX7" fmla="*/ 2043721 w 2264976"/>
              <a:gd name="connsiteY7" fmla="*/ 610510 h 1978729"/>
              <a:gd name="connsiteX8" fmla="*/ 2040175 w 2264976"/>
              <a:gd name="connsiteY8" fmla="*/ 653933 h 1978729"/>
              <a:gd name="connsiteX9" fmla="*/ 2070318 w 2264976"/>
              <a:gd name="connsiteY9" fmla="*/ 700014 h 1978729"/>
              <a:gd name="connsiteX10" fmla="*/ 2162519 w 2264976"/>
              <a:gd name="connsiteY10" fmla="*/ 727485 h 1978729"/>
              <a:gd name="connsiteX11" fmla="*/ 2236989 w 2264976"/>
              <a:gd name="connsiteY11" fmla="*/ 720396 h 1978729"/>
              <a:gd name="connsiteX12" fmla="*/ 2221918 w 2264976"/>
              <a:gd name="connsiteY12" fmla="*/ 804582 h 1978729"/>
              <a:gd name="connsiteX13" fmla="*/ 2263586 w 2264976"/>
              <a:gd name="connsiteY13" fmla="*/ 844460 h 1978729"/>
              <a:gd name="connsiteX14" fmla="*/ 2178477 w 2264976"/>
              <a:gd name="connsiteY14" fmla="*/ 1029671 h 1978729"/>
              <a:gd name="connsiteX15" fmla="*/ 2170498 w 2264976"/>
              <a:gd name="connsiteY15" fmla="*/ 1093476 h 1978729"/>
              <a:gd name="connsiteX16" fmla="*/ 2200641 w 2264976"/>
              <a:gd name="connsiteY16" fmla="*/ 1204248 h 1978729"/>
              <a:gd name="connsiteX17" fmla="*/ 2223691 w 2264976"/>
              <a:gd name="connsiteY17" fmla="*/ 1271597 h 1978729"/>
              <a:gd name="connsiteX18" fmla="*/ 2232556 w 2264976"/>
              <a:gd name="connsiteY18" fmla="*/ 1323881 h 1978729"/>
              <a:gd name="connsiteX19" fmla="*/ 2205073 w 2264976"/>
              <a:gd name="connsiteY19" fmla="*/ 1334516 h 1978729"/>
              <a:gd name="connsiteX20" fmla="*/ 1526863 w 2264976"/>
              <a:gd name="connsiteY20" fmla="*/ 1560490 h 1978729"/>
              <a:gd name="connsiteX21" fmla="*/ 2181137 w 2264976"/>
              <a:gd name="connsiteY21" fmla="*/ 1374393 h 1978729"/>
              <a:gd name="connsiteX22" fmla="*/ 2186456 w 2264976"/>
              <a:gd name="connsiteY22" fmla="*/ 1392117 h 1978729"/>
              <a:gd name="connsiteX23" fmla="*/ 2221918 w 2264976"/>
              <a:gd name="connsiteY23" fmla="*/ 1449718 h 1978729"/>
              <a:gd name="connsiteX24" fmla="*/ 2174931 w 2264976"/>
              <a:gd name="connsiteY24" fmla="*/ 1510865 h 1978729"/>
              <a:gd name="connsiteX25" fmla="*/ 2111986 w 2264976"/>
              <a:gd name="connsiteY25" fmla="*/ 1548084 h 1978729"/>
              <a:gd name="connsiteX26" fmla="*/ 2051700 w 2264976"/>
              <a:gd name="connsiteY26" fmla="*/ 1600368 h 1978729"/>
              <a:gd name="connsiteX27" fmla="*/ 1016211 w 2264976"/>
              <a:gd name="connsiteY27" fmla="*/ 1970790 h 1978729"/>
              <a:gd name="connsiteX28" fmla="*/ 902732 w 2264976"/>
              <a:gd name="connsiteY28" fmla="*/ 1976993 h 1978729"/>
              <a:gd name="connsiteX29" fmla="*/ 903619 w 2264976"/>
              <a:gd name="connsiteY29" fmla="*/ 1943318 h 1978729"/>
              <a:gd name="connsiteX30" fmla="*/ 856632 w 2264976"/>
              <a:gd name="connsiteY30" fmla="*/ 1924709 h 1978729"/>
              <a:gd name="connsiteX31" fmla="*/ 853972 w 2264976"/>
              <a:gd name="connsiteY31" fmla="*/ 1883945 h 1978729"/>
              <a:gd name="connsiteX32" fmla="*/ 688188 w 2264976"/>
              <a:gd name="connsiteY32" fmla="*/ 1927367 h 1978729"/>
              <a:gd name="connsiteX33" fmla="*/ 598646 w 2264976"/>
              <a:gd name="connsiteY33" fmla="*/ 1848497 h 1978729"/>
              <a:gd name="connsiteX34" fmla="*/ 550772 w 2264976"/>
              <a:gd name="connsiteY34" fmla="*/ 1773173 h 1978729"/>
              <a:gd name="connsiteX35" fmla="*/ 525062 w 2264976"/>
              <a:gd name="connsiteY35" fmla="*/ 1673921 h 1978729"/>
              <a:gd name="connsiteX36" fmla="*/ 416017 w 2264976"/>
              <a:gd name="connsiteY36" fmla="*/ 1688100 h 1978729"/>
              <a:gd name="connsiteX37" fmla="*/ 325589 w 2264976"/>
              <a:gd name="connsiteY37" fmla="*/ 1603027 h 1978729"/>
              <a:gd name="connsiteX38" fmla="*/ 178422 w 2264976"/>
              <a:gd name="connsiteY38" fmla="*/ 1569352 h 1978729"/>
              <a:gd name="connsiteX39" fmla="*/ 165123 w 2264976"/>
              <a:gd name="connsiteY39" fmla="*/ 1478076 h 1978729"/>
              <a:gd name="connsiteX40" fmla="*/ 105724 w 2264976"/>
              <a:gd name="connsiteY40" fmla="*/ 1450605 h 1978729"/>
              <a:gd name="connsiteX41" fmla="*/ 178422 w 2264976"/>
              <a:gd name="connsiteY41" fmla="*/ 1348694 h 1978729"/>
              <a:gd name="connsiteX42" fmla="*/ 177535 w 2264976"/>
              <a:gd name="connsiteY42" fmla="*/ 1347808 h 1978729"/>
              <a:gd name="connsiteX43" fmla="*/ 783048 w 2264976"/>
              <a:gd name="connsiteY43" fmla="*/ 1008403 h 1978729"/>
              <a:gd name="connsiteX44" fmla="*/ 159804 w 2264976"/>
              <a:gd name="connsiteY44" fmla="*/ 1322995 h 1978729"/>
              <a:gd name="connsiteX45" fmla="*/ 152712 w 2264976"/>
              <a:gd name="connsiteY45" fmla="*/ 1276914 h 1978729"/>
              <a:gd name="connsiteX46" fmla="*/ 117250 w 2264976"/>
              <a:gd name="connsiteY46" fmla="*/ 1222857 h 1978729"/>
              <a:gd name="connsiteX47" fmla="*/ 107498 w 2264976"/>
              <a:gd name="connsiteY47" fmla="*/ 1150191 h 1978729"/>
              <a:gd name="connsiteX48" fmla="*/ 57851 w 2264976"/>
              <a:gd name="connsiteY48" fmla="*/ 1126264 h 1978729"/>
              <a:gd name="connsiteX49" fmla="*/ 36574 w 2264976"/>
              <a:gd name="connsiteY49" fmla="*/ 1120947 h 1978729"/>
              <a:gd name="connsiteX50" fmla="*/ 22389 w 2264976"/>
              <a:gd name="connsiteY50" fmla="*/ 1011061 h 1978729"/>
              <a:gd name="connsiteX51" fmla="*/ 34801 w 2264976"/>
              <a:gd name="connsiteY51" fmla="*/ 929533 h 1978729"/>
              <a:gd name="connsiteX52" fmla="*/ 61397 w 2264976"/>
              <a:gd name="connsiteY52" fmla="*/ 854208 h 1978729"/>
              <a:gd name="connsiteX53" fmla="*/ 662478 w 2264976"/>
              <a:gd name="connsiteY53" fmla="*/ 393397 h 1978729"/>
              <a:gd name="connsiteX54" fmla="*/ 1833609 w 2264976"/>
              <a:gd name="connsiteY54" fmla="*/ 4366 h 1978729"/>
              <a:gd name="connsiteX55" fmla="*/ 1899543 w 2264976"/>
              <a:gd name="connsiteY55" fmla="*/ 240 h 1978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2264976" h="1978729">
                <a:moveTo>
                  <a:pt x="1899543" y="240"/>
                </a:moveTo>
                <a:cubicBezTo>
                  <a:pt x="2028872" y="-3250"/>
                  <a:pt x="1997843" y="32613"/>
                  <a:pt x="2042835" y="31837"/>
                </a:cubicBezTo>
                <a:cubicBezTo>
                  <a:pt x="2093368" y="30065"/>
                  <a:pt x="2128830" y="53992"/>
                  <a:pt x="2096914" y="100959"/>
                </a:cubicBezTo>
                <a:cubicBezTo>
                  <a:pt x="2065885" y="147926"/>
                  <a:pt x="2126171" y="155016"/>
                  <a:pt x="2128830" y="173625"/>
                </a:cubicBezTo>
                <a:cubicBezTo>
                  <a:pt x="2132376" y="192235"/>
                  <a:pt x="2144788" y="286170"/>
                  <a:pt x="2104007" y="334023"/>
                </a:cubicBezTo>
                <a:cubicBezTo>
                  <a:pt x="2063225" y="381877"/>
                  <a:pt x="2127057" y="346430"/>
                  <a:pt x="2126171" y="380104"/>
                </a:cubicBezTo>
                <a:cubicBezTo>
                  <a:pt x="2125284" y="413779"/>
                  <a:pt x="2111986" y="513917"/>
                  <a:pt x="2078297" y="535185"/>
                </a:cubicBezTo>
                <a:cubicBezTo>
                  <a:pt x="2044608" y="557339"/>
                  <a:pt x="2030423" y="601648"/>
                  <a:pt x="2043721" y="610510"/>
                </a:cubicBezTo>
                <a:cubicBezTo>
                  <a:pt x="2056133" y="618486"/>
                  <a:pt x="2077410" y="632664"/>
                  <a:pt x="2040175" y="653933"/>
                </a:cubicBezTo>
                <a:cubicBezTo>
                  <a:pt x="2003827" y="674315"/>
                  <a:pt x="1967478" y="743436"/>
                  <a:pt x="2070318" y="700014"/>
                </a:cubicBezTo>
                <a:cubicBezTo>
                  <a:pt x="2174044" y="656591"/>
                  <a:pt x="2144788" y="723941"/>
                  <a:pt x="2162519" y="727485"/>
                </a:cubicBezTo>
                <a:cubicBezTo>
                  <a:pt x="2180250" y="731916"/>
                  <a:pt x="2233443" y="709762"/>
                  <a:pt x="2236989" y="720396"/>
                </a:cubicBezTo>
                <a:cubicBezTo>
                  <a:pt x="2240535" y="730144"/>
                  <a:pt x="2212166" y="790404"/>
                  <a:pt x="2221918" y="804582"/>
                </a:cubicBezTo>
                <a:cubicBezTo>
                  <a:pt x="2230783" y="817875"/>
                  <a:pt x="2260926" y="799265"/>
                  <a:pt x="2263586" y="844460"/>
                </a:cubicBezTo>
                <a:cubicBezTo>
                  <a:pt x="2265359" y="889655"/>
                  <a:pt x="2268905" y="1002200"/>
                  <a:pt x="2178477" y="1029671"/>
                </a:cubicBezTo>
                <a:cubicBezTo>
                  <a:pt x="2178477" y="1029671"/>
                  <a:pt x="2152767" y="1057143"/>
                  <a:pt x="2170498" y="1093476"/>
                </a:cubicBezTo>
                <a:cubicBezTo>
                  <a:pt x="2187342" y="1128923"/>
                  <a:pt x="2223691" y="1147533"/>
                  <a:pt x="2200641" y="1204248"/>
                </a:cubicBezTo>
                <a:cubicBezTo>
                  <a:pt x="2176704" y="1260963"/>
                  <a:pt x="2217485" y="1271597"/>
                  <a:pt x="2223691" y="1271597"/>
                </a:cubicBezTo>
                <a:cubicBezTo>
                  <a:pt x="2229010" y="1271597"/>
                  <a:pt x="2307913" y="1302613"/>
                  <a:pt x="2232556" y="1323881"/>
                </a:cubicBezTo>
                <a:cubicBezTo>
                  <a:pt x="2221031" y="1327426"/>
                  <a:pt x="2212166" y="1330971"/>
                  <a:pt x="2205073" y="1334516"/>
                </a:cubicBezTo>
                <a:cubicBezTo>
                  <a:pt x="2205073" y="1334516"/>
                  <a:pt x="2205073" y="1334516"/>
                  <a:pt x="1526863" y="1560490"/>
                </a:cubicBezTo>
                <a:cubicBezTo>
                  <a:pt x="1526863" y="1560490"/>
                  <a:pt x="1526863" y="1560490"/>
                  <a:pt x="2181137" y="1374393"/>
                </a:cubicBezTo>
                <a:cubicBezTo>
                  <a:pt x="2182023" y="1384141"/>
                  <a:pt x="2186456" y="1392117"/>
                  <a:pt x="2186456" y="1392117"/>
                </a:cubicBezTo>
                <a:cubicBezTo>
                  <a:pt x="2186456" y="1392117"/>
                  <a:pt x="2228124" y="1420475"/>
                  <a:pt x="2221918" y="1449718"/>
                </a:cubicBezTo>
                <a:cubicBezTo>
                  <a:pt x="2214825" y="1478962"/>
                  <a:pt x="2174044" y="1470100"/>
                  <a:pt x="2174931" y="1510865"/>
                </a:cubicBezTo>
                <a:cubicBezTo>
                  <a:pt x="2176704" y="1551629"/>
                  <a:pt x="2148334" y="1529474"/>
                  <a:pt x="2111986" y="1548084"/>
                </a:cubicBezTo>
                <a:cubicBezTo>
                  <a:pt x="2074751" y="1565807"/>
                  <a:pt x="2117305" y="1573783"/>
                  <a:pt x="2051700" y="1600368"/>
                </a:cubicBezTo>
                <a:cubicBezTo>
                  <a:pt x="1985209" y="1626954"/>
                  <a:pt x="1016211" y="1970790"/>
                  <a:pt x="1016211" y="1970790"/>
                </a:cubicBezTo>
                <a:cubicBezTo>
                  <a:pt x="1016211" y="1970790"/>
                  <a:pt x="973656" y="1983196"/>
                  <a:pt x="902732" y="1976993"/>
                </a:cubicBezTo>
                <a:cubicBezTo>
                  <a:pt x="902732" y="1976993"/>
                  <a:pt x="888548" y="1964586"/>
                  <a:pt x="903619" y="1943318"/>
                </a:cubicBezTo>
                <a:cubicBezTo>
                  <a:pt x="918690" y="1922050"/>
                  <a:pt x="865497" y="1932684"/>
                  <a:pt x="856632" y="1924709"/>
                </a:cubicBezTo>
                <a:cubicBezTo>
                  <a:pt x="846880" y="1915847"/>
                  <a:pt x="867270" y="1906099"/>
                  <a:pt x="853972" y="1883945"/>
                </a:cubicBezTo>
                <a:cubicBezTo>
                  <a:pt x="840674" y="1861790"/>
                  <a:pt x="751133" y="1926481"/>
                  <a:pt x="688188" y="1927367"/>
                </a:cubicBezTo>
                <a:cubicBezTo>
                  <a:pt x="626129" y="1928253"/>
                  <a:pt x="598646" y="1848497"/>
                  <a:pt x="598646" y="1848497"/>
                </a:cubicBezTo>
                <a:cubicBezTo>
                  <a:pt x="598646" y="1848497"/>
                  <a:pt x="616377" y="1795327"/>
                  <a:pt x="550772" y="1773173"/>
                </a:cubicBezTo>
                <a:cubicBezTo>
                  <a:pt x="486054" y="1751018"/>
                  <a:pt x="533041" y="1694303"/>
                  <a:pt x="525062" y="1673921"/>
                </a:cubicBezTo>
                <a:cubicBezTo>
                  <a:pt x="516197" y="1654425"/>
                  <a:pt x="493147" y="1703165"/>
                  <a:pt x="416017" y="1688100"/>
                </a:cubicBezTo>
                <a:cubicBezTo>
                  <a:pt x="338887" y="1673035"/>
                  <a:pt x="306085" y="1685441"/>
                  <a:pt x="325589" y="1603027"/>
                </a:cubicBezTo>
                <a:cubicBezTo>
                  <a:pt x="325589" y="1603027"/>
                  <a:pt x="220089" y="1609230"/>
                  <a:pt x="178422" y="1569352"/>
                </a:cubicBezTo>
                <a:cubicBezTo>
                  <a:pt x="136754" y="1530360"/>
                  <a:pt x="179308" y="1516182"/>
                  <a:pt x="165123" y="1478076"/>
                </a:cubicBezTo>
                <a:cubicBezTo>
                  <a:pt x="150052" y="1439970"/>
                  <a:pt x="120796" y="1487824"/>
                  <a:pt x="105724" y="1450605"/>
                </a:cubicBezTo>
                <a:cubicBezTo>
                  <a:pt x="90653" y="1413385"/>
                  <a:pt x="178422" y="1348694"/>
                  <a:pt x="178422" y="1348694"/>
                </a:cubicBezTo>
                <a:cubicBezTo>
                  <a:pt x="178422" y="1348694"/>
                  <a:pt x="178422" y="1348694"/>
                  <a:pt x="177535" y="1347808"/>
                </a:cubicBezTo>
                <a:cubicBezTo>
                  <a:pt x="177535" y="1347808"/>
                  <a:pt x="177535" y="1347808"/>
                  <a:pt x="783048" y="1008403"/>
                </a:cubicBezTo>
                <a:cubicBezTo>
                  <a:pt x="783048" y="1008403"/>
                  <a:pt x="783048" y="1008403"/>
                  <a:pt x="159804" y="1322995"/>
                </a:cubicBezTo>
                <a:cubicBezTo>
                  <a:pt x="152712" y="1310589"/>
                  <a:pt x="147392" y="1293752"/>
                  <a:pt x="152712" y="1276914"/>
                </a:cubicBezTo>
                <a:cubicBezTo>
                  <a:pt x="165123" y="1241467"/>
                  <a:pt x="158917" y="1227288"/>
                  <a:pt x="117250" y="1222857"/>
                </a:cubicBezTo>
                <a:cubicBezTo>
                  <a:pt x="75582" y="1218427"/>
                  <a:pt x="75582" y="1179435"/>
                  <a:pt x="107498" y="1150191"/>
                </a:cubicBezTo>
                <a:cubicBezTo>
                  <a:pt x="140300" y="1120947"/>
                  <a:pt x="80015" y="1130695"/>
                  <a:pt x="57851" y="1126264"/>
                </a:cubicBezTo>
                <a:cubicBezTo>
                  <a:pt x="36574" y="1120947"/>
                  <a:pt x="36574" y="1120947"/>
                  <a:pt x="36574" y="1120947"/>
                </a:cubicBezTo>
                <a:cubicBezTo>
                  <a:pt x="36574" y="1120947"/>
                  <a:pt x="-35237" y="1079297"/>
                  <a:pt x="22389" y="1011061"/>
                </a:cubicBezTo>
                <a:cubicBezTo>
                  <a:pt x="22389" y="1011061"/>
                  <a:pt x="1112" y="959663"/>
                  <a:pt x="34801" y="929533"/>
                </a:cubicBezTo>
                <a:cubicBezTo>
                  <a:pt x="68489" y="900289"/>
                  <a:pt x="48099" y="873704"/>
                  <a:pt x="61397" y="854208"/>
                </a:cubicBezTo>
                <a:cubicBezTo>
                  <a:pt x="74695" y="834712"/>
                  <a:pt x="171329" y="659250"/>
                  <a:pt x="662478" y="393397"/>
                </a:cubicBezTo>
                <a:cubicBezTo>
                  <a:pt x="1152739" y="127544"/>
                  <a:pt x="1627043" y="22976"/>
                  <a:pt x="1833609" y="4366"/>
                </a:cubicBezTo>
                <a:cubicBezTo>
                  <a:pt x="1859319" y="2040"/>
                  <a:pt x="1881067" y="738"/>
                  <a:pt x="1899543" y="240"/>
                </a:cubicBezTo>
                <a:close/>
              </a:path>
            </a:pathLst>
          </a:custGeo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None/>
              <a:defRPr sz="1400"/>
            </a:lvl1pPr>
          </a:lstStyle>
          <a:p>
            <a:r>
              <a:rPr lang="en-US" dirty="0"/>
              <a:t>Picture </a:t>
            </a:r>
          </a:p>
        </p:txBody>
      </p:sp>
    </p:spTree>
    <p:extLst>
      <p:ext uri="{BB962C8B-B14F-4D97-AF65-F5344CB8AC3E}">
        <p14:creationId xmlns:p14="http://schemas.microsoft.com/office/powerpoint/2010/main" val="2088237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9613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0919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5903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5115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9141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4561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36412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7FC82E-C8AE-4694-BFB0-1820EDB8324D}" type="datetimeFigureOut">
              <a:rPr lang="en-US" smtClean="0"/>
              <a:t>3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7DACD8-DC10-41FF-817D-E5B4A71620C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424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6" r:id="rId7"/>
    <p:sldLayoutId id="2147483657" r:id="rId8"/>
    <p:sldLayoutId id="2147483658" r:id="rId9"/>
    <p:sldLayoutId id="2147483659" r:id="rId10"/>
    <p:sldLayoutId id="2147483662" r:id="rId11"/>
    <p:sldLayoutId id="2147483660" r:id="rId12"/>
    <p:sldLayoutId id="2147483661" r:id="rId13"/>
    <p:sldLayoutId id="2147483655" r:id="rId14"/>
    <p:sldLayoutId id="2147483664" r:id="rId15"/>
    <p:sldLayoutId id="2147483663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Relationship Id="rId6" Type="http://schemas.openxmlformats.org/officeDocument/2006/relationships/image" Target="../media/image3.tiff"/><Relationship Id="rId5" Type="http://schemas.openxmlformats.org/officeDocument/2006/relationships/image" Target="../media/image2.tiff"/><Relationship Id="rId4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5.jpeg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jpeg"/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0.tiff"/><Relationship Id="rId5" Type="http://schemas.openxmlformats.org/officeDocument/2006/relationships/image" Target="../media/image29.tiff"/><Relationship Id="rId4" Type="http://schemas.openxmlformats.org/officeDocument/2006/relationships/image" Target="../media/image28.tif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6.tiff"/><Relationship Id="rId4" Type="http://schemas.openxmlformats.org/officeDocument/2006/relationships/image" Target="../media/image5.tif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hyperlink" Target="mailto:fernandabaragao@ufrj.br" TargetMode="External"/><Relationship Id="rId1" Type="http://schemas.openxmlformats.org/officeDocument/2006/relationships/slideLayout" Target="../slideLayouts/slideLayout23.xml"/><Relationship Id="rId5" Type="http://schemas.openxmlformats.org/officeDocument/2006/relationships/hyperlink" Target="http://www.neuropod.com.br/" TargetMode="External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6.tiff"/><Relationship Id="rId4" Type="http://schemas.openxmlformats.org/officeDocument/2006/relationships/image" Target="../media/image5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.tiff"/><Relationship Id="rId5" Type="http://schemas.openxmlformats.org/officeDocument/2006/relationships/image" Target="../media/image9.tiff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tiff"/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5.tiff"/><Relationship Id="rId5" Type="http://schemas.openxmlformats.org/officeDocument/2006/relationships/image" Target="../media/image14.tiff"/><Relationship Id="rId4" Type="http://schemas.openxmlformats.org/officeDocument/2006/relationships/image" Target="../media/image13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tiff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6.tiff"/><Relationship Id="rId4" Type="http://schemas.openxmlformats.org/officeDocument/2006/relationships/image" Target="../media/image5.tif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m 16">
            <a:extLst>
              <a:ext uri="{FF2B5EF4-FFF2-40B4-BE49-F238E27FC236}">
                <a16:creationId xmlns="" xmlns:a16="http://schemas.microsoft.com/office/drawing/2014/main" id="{360B32D2-B793-994B-9D0F-44093BE1581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7047" y="0"/>
            <a:ext cx="12346094" cy="6858000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 rot="1731039" flipH="1">
            <a:off x="6430102" y="1712849"/>
            <a:ext cx="99251" cy="3565456"/>
            <a:chOff x="5289552" y="800100"/>
            <a:chExt cx="76199" cy="5257801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5289552" y="800101"/>
              <a:ext cx="0" cy="525780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5365751" y="800100"/>
              <a:ext cx="0" cy="525780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 txBox="1">
            <a:spLocks/>
          </p:cNvSpPr>
          <p:nvPr/>
        </p:nvSpPr>
        <p:spPr>
          <a:xfrm>
            <a:off x="930519" y="4171313"/>
            <a:ext cx="4840945" cy="86177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800" dirty="0">
                <a:solidFill>
                  <a:schemeClr val="bg1"/>
                </a:solidFill>
                <a:latin typeface="Century Gothic" panose="020B0502020202020204" pitchFamily="34" charset="0"/>
              </a:rPr>
              <a:t>O que </a:t>
            </a:r>
            <a:r>
              <a:rPr lang="en-US" sz="28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abemos</a:t>
            </a:r>
            <a:r>
              <a:rPr lang="en-US" sz="2800" dirty="0">
                <a:solidFill>
                  <a:schemeClr val="bg1"/>
                </a:solidFill>
                <a:latin typeface="Century Gothic" panose="020B0502020202020204" pitchFamily="34" charset="0"/>
              </a:rPr>
              <a:t> e o que </a:t>
            </a:r>
            <a:r>
              <a:rPr lang="en-US" sz="28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queremos</a:t>
            </a:r>
            <a:r>
              <a:rPr lang="en-US" sz="2800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28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descobrir</a:t>
            </a:r>
            <a:r>
              <a:rPr lang="en-US" sz="2800" dirty="0">
                <a:solidFill>
                  <a:schemeClr val="bg1"/>
                </a:solidFill>
                <a:latin typeface="Century Gothic" panose="020B0502020202020204" pitchFamily="34" charset="0"/>
              </a:rPr>
              <a:t>?</a:t>
            </a:r>
          </a:p>
        </p:txBody>
      </p:sp>
      <p:sp>
        <p:nvSpPr>
          <p:cNvPr id="11" name="TextBox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046834" y="2817729"/>
            <a:ext cx="489517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sz="3000" b="1" kern="0" dirty="0">
                <a:solidFill>
                  <a:schemeClr val="bg1"/>
                </a:solidFill>
                <a:latin typeface="+mn-lt"/>
                <a:cs typeface="Segoe UI" panose="020B0502040204020203" pitchFamily="34" charset="0"/>
              </a:rPr>
              <a:t>FERNANDA BARROS ARAGÃO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878537" y="2198898"/>
            <a:ext cx="5913341" cy="2052374"/>
            <a:chOff x="-1856224" y="2389236"/>
            <a:chExt cx="5913341" cy="2052374"/>
          </a:xfrm>
        </p:grpSpPr>
        <p:sp>
          <p:nvSpPr>
            <p:cNvPr id="13" name="Title 1"/>
            <p:cNvSpPr txBox="1">
              <a:spLocks/>
            </p:cNvSpPr>
            <p:nvPr/>
          </p:nvSpPr>
          <p:spPr>
            <a:xfrm>
              <a:off x="-1856224" y="2389236"/>
              <a:ext cx="5160064" cy="1218795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just"/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FEITOS DA INFECÇÃO DO VÍRUS DA ZIKA</a:t>
              </a:r>
            </a:p>
          </p:txBody>
        </p:sp>
        <p:sp>
          <p:nvSpPr>
            <p:cNvPr id="14" name="Title 1"/>
            <p:cNvSpPr txBox="1">
              <a:spLocks/>
            </p:cNvSpPr>
            <p:nvPr/>
          </p:nvSpPr>
          <p:spPr>
            <a:xfrm>
              <a:off x="-1856224" y="3832212"/>
              <a:ext cx="5913341" cy="60939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just"/>
              <a:r>
                <a:rPr lang="en-US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O CÉREBRO ADULTO</a:t>
              </a:r>
            </a:p>
          </p:txBody>
        </p:sp>
      </p:grpSp>
      <p:sp>
        <p:nvSpPr>
          <p:cNvPr id="18" name="Title 1">
            <a:extLst>
              <a:ext uri="{FF2B5EF4-FFF2-40B4-BE49-F238E27FC236}">
                <a16:creationId xmlns="" xmlns:a16="http://schemas.microsoft.com/office/drawing/2014/main" id="{17E690C8-DA52-3D4B-AAB5-570050962A33}"/>
              </a:ext>
            </a:extLst>
          </p:cNvPr>
          <p:cNvSpPr txBox="1">
            <a:spLocks/>
          </p:cNvSpPr>
          <p:nvPr/>
        </p:nvSpPr>
        <p:spPr>
          <a:xfrm>
            <a:off x="7046834" y="3417693"/>
            <a:ext cx="4895171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utoranda</a:t>
            </a:r>
            <a:endParaRPr lang="en-US" sz="2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tituto de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iências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iomédicas</a:t>
            </a:r>
            <a:endParaRPr lang="en-US" sz="2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niversidade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Federal do Rio de Janeiro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="" xmlns:a16="http://schemas.microsoft.com/office/drawing/2014/main" id="{1CFDB666-51A4-2347-8C36-58EC55FE3D7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9782" y="4733365"/>
            <a:ext cx="1379334" cy="2039387"/>
          </a:xfrm>
          <a:prstGeom prst="rect">
            <a:avLst/>
          </a:prstGeom>
        </p:spPr>
      </p:pic>
      <p:pic>
        <p:nvPicPr>
          <p:cNvPr id="20" name="Imagem 19">
            <a:extLst>
              <a:ext uri="{FF2B5EF4-FFF2-40B4-BE49-F238E27FC236}">
                <a16:creationId xmlns="" xmlns:a16="http://schemas.microsoft.com/office/drawing/2014/main" id="{716C03F2-CA18-994D-8464-39171E8F09C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1728" y="4733365"/>
            <a:ext cx="1630965" cy="2039387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="" xmlns:a16="http://schemas.microsoft.com/office/drawing/2014/main" id="{06E62F87-2E1C-5E49-B985-B5C085F3126B}"/>
              </a:ext>
            </a:extLst>
          </p:cNvPr>
          <p:cNvSpPr txBox="1">
            <a:spLocks/>
          </p:cNvSpPr>
          <p:nvPr/>
        </p:nvSpPr>
        <p:spPr>
          <a:xfrm>
            <a:off x="285060" y="6479082"/>
            <a:ext cx="2368493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1 de março de 2020</a:t>
            </a:r>
          </a:p>
        </p:txBody>
      </p:sp>
    </p:spTree>
    <p:extLst>
      <p:ext uri="{BB962C8B-B14F-4D97-AF65-F5344CB8AC3E}">
        <p14:creationId xmlns:p14="http://schemas.microsoft.com/office/powerpoint/2010/main" val="4697396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421735" y="312459"/>
            <a:ext cx="6026150" cy="149579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gradFill flip="none" rotWithShape="1">
                  <a:gsLst>
                    <a:gs pos="0">
                      <a:srgbClr val="285066"/>
                    </a:gs>
                    <a:gs pos="24000">
                      <a:srgbClr val="366C89"/>
                    </a:gs>
                    <a:gs pos="100000">
                      <a:srgbClr val="EF7D4F"/>
                    </a:gs>
                  </a:gsLst>
                  <a:lin ang="0" scaled="1"/>
                  <a:tileRect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O QUE ACONTECE QUANDO O VÍRUS DA ZIKA INFECTA O CÉREBRO ADULTO?</a:t>
            </a:r>
            <a:endParaRPr lang="en-US" sz="3600" dirty="0">
              <a:gradFill flip="none" rotWithShape="1">
                <a:gsLst>
                  <a:gs pos="0">
                    <a:srgbClr val="285066"/>
                  </a:gs>
                  <a:gs pos="24000">
                    <a:srgbClr val="366C89"/>
                  </a:gs>
                  <a:gs pos="100000">
                    <a:srgbClr val="EF7D4F"/>
                  </a:gs>
                </a:gsLst>
                <a:lin ang="0" scaled="1"/>
                <a:tileRect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421735" y="2039481"/>
            <a:ext cx="6026150" cy="0"/>
          </a:xfrm>
          <a:prstGeom prst="line">
            <a:avLst/>
          </a:prstGeom>
          <a:ln w="12700" cap="rnd">
            <a:gradFill flip="none" rotWithShape="1">
              <a:gsLst>
                <a:gs pos="0">
                  <a:srgbClr val="285066"/>
                </a:gs>
                <a:gs pos="50000">
                  <a:srgbClr val="366C89"/>
                </a:gs>
                <a:gs pos="100000">
                  <a:srgbClr val="EF7D4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reeform 15"/>
          <p:cNvSpPr>
            <a:spLocks/>
          </p:cNvSpPr>
          <p:nvPr/>
        </p:nvSpPr>
        <p:spPr bwMode="auto">
          <a:xfrm>
            <a:off x="421735" y="2540673"/>
            <a:ext cx="6026150" cy="946151"/>
          </a:xfrm>
          <a:custGeom>
            <a:avLst/>
            <a:gdLst>
              <a:gd name="T0" fmla="*/ 345 w 6640"/>
              <a:gd name="T1" fmla="*/ 2 h 1539"/>
              <a:gd name="T2" fmla="*/ 364 w 6640"/>
              <a:gd name="T3" fmla="*/ 106 h 1539"/>
              <a:gd name="T4" fmla="*/ 144 w 6640"/>
              <a:gd name="T5" fmla="*/ 295 h 1539"/>
              <a:gd name="T6" fmla="*/ 60 w 6640"/>
              <a:gd name="T7" fmla="*/ 650 h 1539"/>
              <a:gd name="T8" fmla="*/ 34 w 6640"/>
              <a:gd name="T9" fmla="*/ 818 h 1539"/>
              <a:gd name="T10" fmla="*/ 138 w 6640"/>
              <a:gd name="T11" fmla="*/ 979 h 1539"/>
              <a:gd name="T12" fmla="*/ 187 w 6640"/>
              <a:gd name="T13" fmla="*/ 1018 h 1539"/>
              <a:gd name="T14" fmla="*/ 118 w 6640"/>
              <a:gd name="T15" fmla="*/ 1121 h 1539"/>
              <a:gd name="T16" fmla="*/ 162 w 6640"/>
              <a:gd name="T17" fmla="*/ 1119 h 1539"/>
              <a:gd name="T18" fmla="*/ 198 w 6640"/>
              <a:gd name="T19" fmla="*/ 1163 h 1539"/>
              <a:gd name="T20" fmla="*/ 263 w 6640"/>
              <a:gd name="T21" fmla="*/ 1267 h 1539"/>
              <a:gd name="T22" fmla="*/ 226 w 6640"/>
              <a:gd name="T23" fmla="*/ 1384 h 1539"/>
              <a:gd name="T24" fmla="*/ 5667 w 6640"/>
              <a:gd name="T25" fmla="*/ 1503 h 1539"/>
              <a:gd name="T26" fmla="*/ 6157 w 6640"/>
              <a:gd name="T27" fmla="*/ 1407 h 1539"/>
              <a:gd name="T28" fmla="*/ 6299 w 6640"/>
              <a:gd name="T29" fmla="*/ 1120 h 1539"/>
              <a:gd name="T30" fmla="*/ 6429 w 6640"/>
              <a:gd name="T31" fmla="*/ 931 h 1539"/>
              <a:gd name="T32" fmla="*/ 6521 w 6640"/>
              <a:gd name="T33" fmla="*/ 701 h 1539"/>
              <a:gd name="T34" fmla="*/ 6313 w 6640"/>
              <a:gd name="T35" fmla="*/ 700 h 1539"/>
              <a:gd name="T36" fmla="*/ 6514 w 6640"/>
              <a:gd name="T37" fmla="*/ 324 h 1539"/>
              <a:gd name="T38" fmla="*/ 6479 w 6640"/>
              <a:gd name="T39" fmla="*/ 324 h 1539"/>
              <a:gd name="T40" fmla="*/ 6590 w 6640"/>
              <a:gd name="T41" fmla="*/ 135 h 1539"/>
              <a:gd name="T42" fmla="*/ 6556 w 6640"/>
              <a:gd name="T43" fmla="*/ 3 h 1539"/>
              <a:gd name="T44" fmla="*/ 345 w 6640"/>
              <a:gd name="T45" fmla="*/ 2 h 1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640" h="1539">
                <a:moveTo>
                  <a:pt x="345" y="2"/>
                </a:moveTo>
                <a:cubicBezTo>
                  <a:pt x="327" y="2"/>
                  <a:pt x="378" y="70"/>
                  <a:pt x="364" y="106"/>
                </a:cubicBezTo>
                <a:cubicBezTo>
                  <a:pt x="350" y="142"/>
                  <a:pt x="190" y="205"/>
                  <a:pt x="144" y="295"/>
                </a:cubicBezTo>
                <a:cubicBezTo>
                  <a:pt x="98" y="385"/>
                  <a:pt x="95" y="569"/>
                  <a:pt x="60" y="650"/>
                </a:cubicBezTo>
                <a:cubicBezTo>
                  <a:pt x="25" y="731"/>
                  <a:pt x="0" y="766"/>
                  <a:pt x="34" y="818"/>
                </a:cubicBezTo>
                <a:cubicBezTo>
                  <a:pt x="68" y="871"/>
                  <a:pt x="114" y="977"/>
                  <a:pt x="138" y="979"/>
                </a:cubicBezTo>
                <a:cubicBezTo>
                  <a:pt x="161" y="980"/>
                  <a:pt x="209" y="976"/>
                  <a:pt x="187" y="1018"/>
                </a:cubicBezTo>
                <a:cubicBezTo>
                  <a:pt x="165" y="1060"/>
                  <a:pt x="172" y="1086"/>
                  <a:pt x="118" y="1121"/>
                </a:cubicBezTo>
                <a:cubicBezTo>
                  <a:pt x="118" y="1121"/>
                  <a:pt x="107" y="1134"/>
                  <a:pt x="162" y="1119"/>
                </a:cubicBezTo>
                <a:cubicBezTo>
                  <a:pt x="162" y="1119"/>
                  <a:pt x="176" y="1115"/>
                  <a:pt x="198" y="1163"/>
                </a:cubicBezTo>
                <a:cubicBezTo>
                  <a:pt x="220" y="1211"/>
                  <a:pt x="242" y="1267"/>
                  <a:pt x="263" y="1267"/>
                </a:cubicBezTo>
                <a:cubicBezTo>
                  <a:pt x="285" y="1267"/>
                  <a:pt x="253" y="1354"/>
                  <a:pt x="226" y="1384"/>
                </a:cubicBezTo>
                <a:cubicBezTo>
                  <a:pt x="87" y="1539"/>
                  <a:pt x="5493" y="1535"/>
                  <a:pt x="5667" y="1503"/>
                </a:cubicBezTo>
                <a:cubicBezTo>
                  <a:pt x="5841" y="1472"/>
                  <a:pt x="6061" y="1489"/>
                  <a:pt x="6157" y="1407"/>
                </a:cubicBezTo>
                <a:cubicBezTo>
                  <a:pt x="6254" y="1325"/>
                  <a:pt x="6286" y="1266"/>
                  <a:pt x="6299" y="1120"/>
                </a:cubicBezTo>
                <a:cubicBezTo>
                  <a:pt x="6313" y="975"/>
                  <a:pt x="6373" y="980"/>
                  <a:pt x="6429" y="931"/>
                </a:cubicBezTo>
                <a:cubicBezTo>
                  <a:pt x="6485" y="881"/>
                  <a:pt x="6501" y="757"/>
                  <a:pt x="6521" y="701"/>
                </a:cubicBezTo>
                <a:cubicBezTo>
                  <a:pt x="6521" y="701"/>
                  <a:pt x="6289" y="748"/>
                  <a:pt x="6313" y="700"/>
                </a:cubicBezTo>
                <a:cubicBezTo>
                  <a:pt x="6337" y="652"/>
                  <a:pt x="6492" y="596"/>
                  <a:pt x="6514" y="324"/>
                </a:cubicBezTo>
                <a:cubicBezTo>
                  <a:pt x="6479" y="324"/>
                  <a:pt x="6479" y="324"/>
                  <a:pt x="6479" y="324"/>
                </a:cubicBezTo>
                <a:cubicBezTo>
                  <a:pt x="6479" y="324"/>
                  <a:pt x="6552" y="250"/>
                  <a:pt x="6590" y="135"/>
                </a:cubicBezTo>
                <a:cubicBezTo>
                  <a:pt x="6628" y="20"/>
                  <a:pt x="6640" y="7"/>
                  <a:pt x="6556" y="3"/>
                </a:cubicBezTo>
                <a:cubicBezTo>
                  <a:pt x="6473" y="0"/>
                  <a:pt x="880" y="2"/>
                  <a:pt x="345" y="2"/>
                </a:cubicBezTo>
                <a:close/>
              </a:path>
            </a:pathLst>
          </a:custGeom>
          <a:gradFill>
            <a:gsLst>
              <a:gs pos="0">
                <a:srgbClr val="24475A"/>
              </a:gs>
              <a:gs pos="97000">
                <a:srgbClr val="EF7D4F"/>
              </a:gs>
              <a:gs pos="43000">
                <a:srgbClr val="366C89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 rot="1731039">
            <a:off x="1480917" y="2580597"/>
            <a:ext cx="76199" cy="826854"/>
            <a:chOff x="5289552" y="800100"/>
            <a:chExt cx="76199" cy="5257801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5289552" y="800101"/>
              <a:ext cx="0" cy="525780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5365751" y="800100"/>
              <a:ext cx="0" cy="525780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Freeform 15"/>
          <p:cNvSpPr>
            <a:spLocks/>
          </p:cNvSpPr>
          <p:nvPr/>
        </p:nvSpPr>
        <p:spPr bwMode="auto">
          <a:xfrm>
            <a:off x="421735" y="3886994"/>
            <a:ext cx="6026150" cy="946151"/>
          </a:xfrm>
          <a:custGeom>
            <a:avLst/>
            <a:gdLst>
              <a:gd name="T0" fmla="*/ 345 w 6640"/>
              <a:gd name="T1" fmla="*/ 2 h 1539"/>
              <a:gd name="T2" fmla="*/ 364 w 6640"/>
              <a:gd name="T3" fmla="*/ 106 h 1539"/>
              <a:gd name="T4" fmla="*/ 144 w 6640"/>
              <a:gd name="T5" fmla="*/ 295 h 1539"/>
              <a:gd name="T6" fmla="*/ 60 w 6640"/>
              <a:gd name="T7" fmla="*/ 650 h 1539"/>
              <a:gd name="T8" fmla="*/ 34 w 6640"/>
              <a:gd name="T9" fmla="*/ 818 h 1539"/>
              <a:gd name="T10" fmla="*/ 138 w 6640"/>
              <a:gd name="T11" fmla="*/ 979 h 1539"/>
              <a:gd name="T12" fmla="*/ 187 w 6640"/>
              <a:gd name="T13" fmla="*/ 1018 h 1539"/>
              <a:gd name="T14" fmla="*/ 118 w 6640"/>
              <a:gd name="T15" fmla="*/ 1121 h 1539"/>
              <a:gd name="T16" fmla="*/ 162 w 6640"/>
              <a:gd name="T17" fmla="*/ 1119 h 1539"/>
              <a:gd name="T18" fmla="*/ 198 w 6640"/>
              <a:gd name="T19" fmla="*/ 1163 h 1539"/>
              <a:gd name="T20" fmla="*/ 263 w 6640"/>
              <a:gd name="T21" fmla="*/ 1267 h 1539"/>
              <a:gd name="T22" fmla="*/ 226 w 6640"/>
              <a:gd name="T23" fmla="*/ 1384 h 1539"/>
              <a:gd name="T24" fmla="*/ 5667 w 6640"/>
              <a:gd name="T25" fmla="*/ 1503 h 1539"/>
              <a:gd name="T26" fmla="*/ 6157 w 6640"/>
              <a:gd name="T27" fmla="*/ 1407 h 1539"/>
              <a:gd name="T28" fmla="*/ 6299 w 6640"/>
              <a:gd name="T29" fmla="*/ 1120 h 1539"/>
              <a:gd name="T30" fmla="*/ 6429 w 6640"/>
              <a:gd name="T31" fmla="*/ 931 h 1539"/>
              <a:gd name="T32" fmla="*/ 6521 w 6640"/>
              <a:gd name="T33" fmla="*/ 701 h 1539"/>
              <a:gd name="T34" fmla="*/ 6313 w 6640"/>
              <a:gd name="T35" fmla="*/ 700 h 1539"/>
              <a:gd name="T36" fmla="*/ 6514 w 6640"/>
              <a:gd name="T37" fmla="*/ 324 h 1539"/>
              <a:gd name="T38" fmla="*/ 6479 w 6640"/>
              <a:gd name="T39" fmla="*/ 324 h 1539"/>
              <a:gd name="T40" fmla="*/ 6590 w 6640"/>
              <a:gd name="T41" fmla="*/ 135 h 1539"/>
              <a:gd name="T42" fmla="*/ 6556 w 6640"/>
              <a:gd name="T43" fmla="*/ 3 h 1539"/>
              <a:gd name="T44" fmla="*/ 345 w 6640"/>
              <a:gd name="T45" fmla="*/ 2 h 1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640" h="1539">
                <a:moveTo>
                  <a:pt x="345" y="2"/>
                </a:moveTo>
                <a:cubicBezTo>
                  <a:pt x="327" y="2"/>
                  <a:pt x="378" y="70"/>
                  <a:pt x="364" y="106"/>
                </a:cubicBezTo>
                <a:cubicBezTo>
                  <a:pt x="350" y="142"/>
                  <a:pt x="190" y="205"/>
                  <a:pt x="144" y="295"/>
                </a:cubicBezTo>
                <a:cubicBezTo>
                  <a:pt x="98" y="385"/>
                  <a:pt x="95" y="569"/>
                  <a:pt x="60" y="650"/>
                </a:cubicBezTo>
                <a:cubicBezTo>
                  <a:pt x="25" y="731"/>
                  <a:pt x="0" y="766"/>
                  <a:pt x="34" y="818"/>
                </a:cubicBezTo>
                <a:cubicBezTo>
                  <a:pt x="68" y="871"/>
                  <a:pt x="114" y="977"/>
                  <a:pt x="138" y="979"/>
                </a:cubicBezTo>
                <a:cubicBezTo>
                  <a:pt x="161" y="980"/>
                  <a:pt x="209" y="976"/>
                  <a:pt x="187" y="1018"/>
                </a:cubicBezTo>
                <a:cubicBezTo>
                  <a:pt x="165" y="1060"/>
                  <a:pt x="172" y="1086"/>
                  <a:pt x="118" y="1121"/>
                </a:cubicBezTo>
                <a:cubicBezTo>
                  <a:pt x="118" y="1121"/>
                  <a:pt x="107" y="1134"/>
                  <a:pt x="162" y="1119"/>
                </a:cubicBezTo>
                <a:cubicBezTo>
                  <a:pt x="162" y="1119"/>
                  <a:pt x="176" y="1115"/>
                  <a:pt x="198" y="1163"/>
                </a:cubicBezTo>
                <a:cubicBezTo>
                  <a:pt x="220" y="1211"/>
                  <a:pt x="242" y="1267"/>
                  <a:pt x="263" y="1267"/>
                </a:cubicBezTo>
                <a:cubicBezTo>
                  <a:pt x="285" y="1267"/>
                  <a:pt x="253" y="1354"/>
                  <a:pt x="226" y="1384"/>
                </a:cubicBezTo>
                <a:cubicBezTo>
                  <a:pt x="87" y="1539"/>
                  <a:pt x="5493" y="1535"/>
                  <a:pt x="5667" y="1503"/>
                </a:cubicBezTo>
                <a:cubicBezTo>
                  <a:pt x="5841" y="1472"/>
                  <a:pt x="6061" y="1489"/>
                  <a:pt x="6157" y="1407"/>
                </a:cubicBezTo>
                <a:cubicBezTo>
                  <a:pt x="6254" y="1325"/>
                  <a:pt x="6286" y="1266"/>
                  <a:pt x="6299" y="1120"/>
                </a:cubicBezTo>
                <a:cubicBezTo>
                  <a:pt x="6313" y="975"/>
                  <a:pt x="6373" y="980"/>
                  <a:pt x="6429" y="931"/>
                </a:cubicBezTo>
                <a:cubicBezTo>
                  <a:pt x="6485" y="881"/>
                  <a:pt x="6501" y="757"/>
                  <a:pt x="6521" y="701"/>
                </a:cubicBezTo>
                <a:cubicBezTo>
                  <a:pt x="6521" y="701"/>
                  <a:pt x="6289" y="748"/>
                  <a:pt x="6313" y="700"/>
                </a:cubicBezTo>
                <a:cubicBezTo>
                  <a:pt x="6337" y="652"/>
                  <a:pt x="6492" y="596"/>
                  <a:pt x="6514" y="324"/>
                </a:cubicBezTo>
                <a:cubicBezTo>
                  <a:pt x="6479" y="324"/>
                  <a:pt x="6479" y="324"/>
                  <a:pt x="6479" y="324"/>
                </a:cubicBezTo>
                <a:cubicBezTo>
                  <a:pt x="6479" y="324"/>
                  <a:pt x="6552" y="250"/>
                  <a:pt x="6590" y="135"/>
                </a:cubicBezTo>
                <a:cubicBezTo>
                  <a:pt x="6628" y="20"/>
                  <a:pt x="6640" y="7"/>
                  <a:pt x="6556" y="3"/>
                </a:cubicBezTo>
                <a:cubicBezTo>
                  <a:pt x="6473" y="0"/>
                  <a:pt x="880" y="2"/>
                  <a:pt x="345" y="2"/>
                </a:cubicBezTo>
                <a:close/>
              </a:path>
            </a:pathLst>
          </a:custGeom>
          <a:gradFill>
            <a:gsLst>
              <a:gs pos="0">
                <a:srgbClr val="24475A"/>
              </a:gs>
              <a:gs pos="97000">
                <a:srgbClr val="EF7D4F"/>
              </a:gs>
              <a:gs pos="43000">
                <a:srgbClr val="366C89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Freeform 19"/>
          <p:cNvSpPr>
            <a:spLocks/>
          </p:cNvSpPr>
          <p:nvPr/>
        </p:nvSpPr>
        <p:spPr bwMode="auto">
          <a:xfrm>
            <a:off x="421735" y="5253038"/>
            <a:ext cx="6026150" cy="946149"/>
          </a:xfrm>
          <a:custGeom>
            <a:avLst/>
            <a:gdLst>
              <a:gd name="T0" fmla="*/ 345 w 6640"/>
              <a:gd name="T1" fmla="*/ 2 h 1539"/>
              <a:gd name="T2" fmla="*/ 364 w 6640"/>
              <a:gd name="T3" fmla="*/ 106 h 1539"/>
              <a:gd name="T4" fmla="*/ 144 w 6640"/>
              <a:gd name="T5" fmla="*/ 295 h 1539"/>
              <a:gd name="T6" fmla="*/ 60 w 6640"/>
              <a:gd name="T7" fmla="*/ 650 h 1539"/>
              <a:gd name="T8" fmla="*/ 34 w 6640"/>
              <a:gd name="T9" fmla="*/ 818 h 1539"/>
              <a:gd name="T10" fmla="*/ 138 w 6640"/>
              <a:gd name="T11" fmla="*/ 979 h 1539"/>
              <a:gd name="T12" fmla="*/ 187 w 6640"/>
              <a:gd name="T13" fmla="*/ 1018 h 1539"/>
              <a:gd name="T14" fmla="*/ 118 w 6640"/>
              <a:gd name="T15" fmla="*/ 1121 h 1539"/>
              <a:gd name="T16" fmla="*/ 162 w 6640"/>
              <a:gd name="T17" fmla="*/ 1119 h 1539"/>
              <a:gd name="T18" fmla="*/ 198 w 6640"/>
              <a:gd name="T19" fmla="*/ 1163 h 1539"/>
              <a:gd name="T20" fmla="*/ 263 w 6640"/>
              <a:gd name="T21" fmla="*/ 1267 h 1539"/>
              <a:gd name="T22" fmla="*/ 226 w 6640"/>
              <a:gd name="T23" fmla="*/ 1384 h 1539"/>
              <a:gd name="T24" fmla="*/ 5667 w 6640"/>
              <a:gd name="T25" fmla="*/ 1503 h 1539"/>
              <a:gd name="T26" fmla="*/ 6157 w 6640"/>
              <a:gd name="T27" fmla="*/ 1407 h 1539"/>
              <a:gd name="T28" fmla="*/ 6299 w 6640"/>
              <a:gd name="T29" fmla="*/ 1120 h 1539"/>
              <a:gd name="T30" fmla="*/ 6429 w 6640"/>
              <a:gd name="T31" fmla="*/ 931 h 1539"/>
              <a:gd name="T32" fmla="*/ 6521 w 6640"/>
              <a:gd name="T33" fmla="*/ 701 h 1539"/>
              <a:gd name="T34" fmla="*/ 6313 w 6640"/>
              <a:gd name="T35" fmla="*/ 700 h 1539"/>
              <a:gd name="T36" fmla="*/ 6514 w 6640"/>
              <a:gd name="T37" fmla="*/ 324 h 1539"/>
              <a:gd name="T38" fmla="*/ 6479 w 6640"/>
              <a:gd name="T39" fmla="*/ 324 h 1539"/>
              <a:gd name="T40" fmla="*/ 6590 w 6640"/>
              <a:gd name="T41" fmla="*/ 135 h 1539"/>
              <a:gd name="T42" fmla="*/ 6556 w 6640"/>
              <a:gd name="T43" fmla="*/ 3 h 1539"/>
              <a:gd name="T44" fmla="*/ 345 w 6640"/>
              <a:gd name="T45" fmla="*/ 2 h 1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640" h="1539">
                <a:moveTo>
                  <a:pt x="345" y="2"/>
                </a:moveTo>
                <a:cubicBezTo>
                  <a:pt x="327" y="2"/>
                  <a:pt x="378" y="70"/>
                  <a:pt x="364" y="106"/>
                </a:cubicBezTo>
                <a:cubicBezTo>
                  <a:pt x="350" y="142"/>
                  <a:pt x="190" y="205"/>
                  <a:pt x="144" y="295"/>
                </a:cubicBezTo>
                <a:cubicBezTo>
                  <a:pt x="98" y="385"/>
                  <a:pt x="95" y="569"/>
                  <a:pt x="60" y="650"/>
                </a:cubicBezTo>
                <a:cubicBezTo>
                  <a:pt x="25" y="731"/>
                  <a:pt x="0" y="766"/>
                  <a:pt x="34" y="818"/>
                </a:cubicBezTo>
                <a:cubicBezTo>
                  <a:pt x="68" y="871"/>
                  <a:pt x="114" y="977"/>
                  <a:pt x="138" y="979"/>
                </a:cubicBezTo>
                <a:cubicBezTo>
                  <a:pt x="161" y="980"/>
                  <a:pt x="209" y="976"/>
                  <a:pt x="187" y="1018"/>
                </a:cubicBezTo>
                <a:cubicBezTo>
                  <a:pt x="165" y="1060"/>
                  <a:pt x="172" y="1086"/>
                  <a:pt x="118" y="1121"/>
                </a:cubicBezTo>
                <a:cubicBezTo>
                  <a:pt x="118" y="1121"/>
                  <a:pt x="107" y="1134"/>
                  <a:pt x="162" y="1119"/>
                </a:cubicBezTo>
                <a:cubicBezTo>
                  <a:pt x="162" y="1119"/>
                  <a:pt x="176" y="1115"/>
                  <a:pt x="198" y="1163"/>
                </a:cubicBezTo>
                <a:cubicBezTo>
                  <a:pt x="220" y="1211"/>
                  <a:pt x="242" y="1267"/>
                  <a:pt x="263" y="1267"/>
                </a:cubicBezTo>
                <a:cubicBezTo>
                  <a:pt x="285" y="1267"/>
                  <a:pt x="253" y="1354"/>
                  <a:pt x="226" y="1384"/>
                </a:cubicBezTo>
                <a:cubicBezTo>
                  <a:pt x="87" y="1539"/>
                  <a:pt x="5493" y="1535"/>
                  <a:pt x="5667" y="1503"/>
                </a:cubicBezTo>
                <a:cubicBezTo>
                  <a:pt x="5841" y="1472"/>
                  <a:pt x="6061" y="1489"/>
                  <a:pt x="6157" y="1407"/>
                </a:cubicBezTo>
                <a:cubicBezTo>
                  <a:pt x="6254" y="1325"/>
                  <a:pt x="6286" y="1266"/>
                  <a:pt x="6299" y="1120"/>
                </a:cubicBezTo>
                <a:cubicBezTo>
                  <a:pt x="6313" y="975"/>
                  <a:pt x="6373" y="980"/>
                  <a:pt x="6429" y="931"/>
                </a:cubicBezTo>
                <a:cubicBezTo>
                  <a:pt x="6485" y="881"/>
                  <a:pt x="6501" y="757"/>
                  <a:pt x="6521" y="701"/>
                </a:cubicBezTo>
                <a:cubicBezTo>
                  <a:pt x="6521" y="701"/>
                  <a:pt x="6289" y="748"/>
                  <a:pt x="6313" y="700"/>
                </a:cubicBezTo>
                <a:cubicBezTo>
                  <a:pt x="6337" y="652"/>
                  <a:pt x="6492" y="596"/>
                  <a:pt x="6514" y="324"/>
                </a:cubicBezTo>
                <a:cubicBezTo>
                  <a:pt x="6479" y="324"/>
                  <a:pt x="6479" y="324"/>
                  <a:pt x="6479" y="324"/>
                </a:cubicBezTo>
                <a:cubicBezTo>
                  <a:pt x="6479" y="324"/>
                  <a:pt x="6552" y="250"/>
                  <a:pt x="6590" y="135"/>
                </a:cubicBezTo>
                <a:cubicBezTo>
                  <a:pt x="6628" y="20"/>
                  <a:pt x="6640" y="7"/>
                  <a:pt x="6556" y="3"/>
                </a:cubicBezTo>
                <a:cubicBezTo>
                  <a:pt x="6473" y="0"/>
                  <a:pt x="880" y="2"/>
                  <a:pt x="345" y="2"/>
                </a:cubicBezTo>
                <a:close/>
              </a:path>
            </a:pathLst>
          </a:custGeom>
          <a:gradFill>
            <a:gsLst>
              <a:gs pos="0">
                <a:srgbClr val="24475A"/>
              </a:gs>
              <a:gs pos="97000">
                <a:srgbClr val="EF7D4F"/>
              </a:gs>
              <a:gs pos="43000">
                <a:srgbClr val="366C89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1776718" y="2809358"/>
            <a:ext cx="4269458" cy="3693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4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erda</a:t>
            </a:r>
            <a:r>
              <a:rPr lang="en-US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 de peso</a:t>
            </a: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1776718" y="4118176"/>
            <a:ext cx="4269458" cy="4837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ct val="150000"/>
              </a:lnSpc>
            </a:pPr>
            <a:r>
              <a:rPr lang="en-US" sz="24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roblemas</a:t>
            </a:r>
            <a:r>
              <a:rPr lang="en-US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 de </a:t>
            </a:r>
            <a:r>
              <a:rPr lang="en-US" sz="24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memória</a:t>
            </a:r>
            <a:endParaRPr lang="en-US" sz="24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1776718" y="5484219"/>
            <a:ext cx="4269458" cy="4837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ct val="150000"/>
              </a:lnSpc>
            </a:pPr>
            <a:r>
              <a:rPr lang="en-US" sz="24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Inflamação</a:t>
            </a:r>
            <a:r>
              <a:rPr lang="en-US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 no </a:t>
            </a:r>
            <a:r>
              <a:rPr lang="en-US" sz="24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cérebro</a:t>
            </a:r>
            <a:endParaRPr lang="en-US" sz="24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14" name="Group 13"/>
          <p:cNvGrpSpPr/>
          <p:nvPr/>
        </p:nvGrpSpPr>
        <p:grpSpPr>
          <a:xfrm rot="1731039">
            <a:off x="1480917" y="3946642"/>
            <a:ext cx="76199" cy="826854"/>
            <a:chOff x="5289552" y="800100"/>
            <a:chExt cx="76199" cy="5257801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5289552" y="800101"/>
              <a:ext cx="0" cy="525780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5365751" y="800100"/>
              <a:ext cx="0" cy="525780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/>
          <p:cNvGrpSpPr/>
          <p:nvPr/>
        </p:nvGrpSpPr>
        <p:grpSpPr>
          <a:xfrm rot="1731039">
            <a:off x="1480918" y="5317993"/>
            <a:ext cx="76199" cy="826854"/>
            <a:chOff x="5289552" y="800100"/>
            <a:chExt cx="76199" cy="5257801"/>
          </a:xfrm>
        </p:grpSpPr>
        <p:cxnSp>
          <p:nvCxnSpPr>
            <p:cNvPr id="18" name="Straight Connector 17"/>
            <p:cNvCxnSpPr/>
            <p:nvPr/>
          </p:nvCxnSpPr>
          <p:spPr>
            <a:xfrm>
              <a:off x="5289552" y="800101"/>
              <a:ext cx="0" cy="525780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65751" y="800100"/>
              <a:ext cx="0" cy="525780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1" name="Espaço Reservado para Imagem 30">
            <a:extLst>
              <a:ext uri="{FF2B5EF4-FFF2-40B4-BE49-F238E27FC236}">
                <a16:creationId xmlns="" xmlns:a16="http://schemas.microsoft.com/office/drawing/2014/main" id="{49533F7B-97E1-8747-8CA0-0AD2C0D4D10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44378" y="335557"/>
            <a:ext cx="5391951" cy="6522443"/>
          </a:xfrm>
        </p:spPr>
      </p:pic>
      <p:pic>
        <p:nvPicPr>
          <p:cNvPr id="33" name="Imagem 32">
            <a:extLst>
              <a:ext uri="{FF2B5EF4-FFF2-40B4-BE49-F238E27FC236}">
                <a16:creationId xmlns="" xmlns:a16="http://schemas.microsoft.com/office/drawing/2014/main" id="{97702608-4B18-A34C-8689-5E6DE0C78763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236" y="3953625"/>
            <a:ext cx="616820" cy="776119"/>
          </a:xfrm>
          <a:prstGeom prst="rect">
            <a:avLst/>
          </a:prstGeom>
        </p:spPr>
      </p:pic>
      <p:pic>
        <p:nvPicPr>
          <p:cNvPr id="35" name="Imagem 34">
            <a:extLst>
              <a:ext uri="{FF2B5EF4-FFF2-40B4-BE49-F238E27FC236}">
                <a16:creationId xmlns="" xmlns:a16="http://schemas.microsoft.com/office/drawing/2014/main" id="{7021EBD1-3EEF-EA44-B649-6A986F4943FA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742" y="2672284"/>
            <a:ext cx="664126" cy="665469"/>
          </a:xfrm>
          <a:prstGeom prst="rect">
            <a:avLst/>
          </a:prstGeom>
        </p:spPr>
      </p:pic>
      <p:pic>
        <p:nvPicPr>
          <p:cNvPr id="41" name="Imagem 40">
            <a:extLst>
              <a:ext uri="{FF2B5EF4-FFF2-40B4-BE49-F238E27FC236}">
                <a16:creationId xmlns="" xmlns:a16="http://schemas.microsoft.com/office/drawing/2014/main" id="{F3EAB408-2102-154F-B0D5-5E9D77E2C48F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4295987">
            <a:off x="715113" y="5249681"/>
            <a:ext cx="678037" cy="880611"/>
          </a:xfrm>
          <a:prstGeom prst="rect">
            <a:avLst/>
          </a:prstGeom>
        </p:spPr>
      </p:pic>
      <p:sp>
        <p:nvSpPr>
          <p:cNvPr id="52" name="CaixaDeTexto 51">
            <a:extLst>
              <a:ext uri="{FF2B5EF4-FFF2-40B4-BE49-F238E27FC236}">
                <a16:creationId xmlns="" xmlns:a16="http://schemas.microsoft.com/office/drawing/2014/main" id="{4522C0B6-CF70-FF40-96E4-60D401635D64}"/>
              </a:ext>
            </a:extLst>
          </p:cNvPr>
          <p:cNvSpPr txBox="1"/>
          <p:nvPr/>
        </p:nvSpPr>
        <p:spPr>
          <a:xfrm>
            <a:off x="0" y="6454980"/>
            <a:ext cx="63410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Figueiredo, Barros-Aragão, </a:t>
            </a:r>
            <a:r>
              <a:rPr lang="pt-BR" sz="1600" dirty="0" err="1"/>
              <a:t>Neris</a:t>
            </a:r>
            <a:r>
              <a:rPr lang="pt-BR" sz="1600" dirty="0"/>
              <a:t> e col., </a:t>
            </a:r>
            <a:r>
              <a:rPr lang="pt-BR" sz="1600" dirty="0" err="1"/>
              <a:t>Nature</a:t>
            </a:r>
            <a:r>
              <a:rPr lang="pt-BR" sz="1600" dirty="0"/>
              <a:t> </a:t>
            </a:r>
            <a:r>
              <a:rPr lang="pt-BR" sz="1600" dirty="0" err="1"/>
              <a:t>Comm</a:t>
            </a:r>
            <a:r>
              <a:rPr lang="pt-BR" sz="1600" dirty="0"/>
              <a:t>., 2019</a:t>
            </a:r>
          </a:p>
        </p:txBody>
      </p:sp>
    </p:spTree>
    <p:extLst>
      <p:ext uri="{BB962C8B-B14F-4D97-AF65-F5344CB8AC3E}">
        <p14:creationId xmlns:p14="http://schemas.microsoft.com/office/powerpoint/2010/main" val="7432941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5734312" y="584856"/>
            <a:ext cx="6026150" cy="9971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600" b="1" dirty="0">
                <a:gradFill flip="none" rotWithShape="1">
                  <a:gsLst>
                    <a:gs pos="0">
                      <a:srgbClr val="285066"/>
                    </a:gs>
                    <a:gs pos="24000">
                      <a:srgbClr val="366C89"/>
                    </a:gs>
                    <a:gs pos="100000">
                      <a:srgbClr val="EF7D4F"/>
                    </a:gs>
                  </a:gsLst>
                  <a:lin ang="0" scaled="1"/>
                  <a:tileRect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ratamento com medicamento </a:t>
            </a:r>
            <a:r>
              <a:rPr lang="pt-BR" sz="3600" b="1" dirty="0" err="1">
                <a:gradFill flip="none" rotWithShape="1">
                  <a:gsLst>
                    <a:gs pos="0">
                      <a:srgbClr val="285066"/>
                    </a:gs>
                    <a:gs pos="24000">
                      <a:srgbClr val="366C89"/>
                    </a:gs>
                    <a:gs pos="100000">
                      <a:srgbClr val="EF7D4F"/>
                    </a:gs>
                  </a:gsLst>
                  <a:lin ang="0" scaled="1"/>
                  <a:tileRect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ntinflamatório</a:t>
            </a:r>
            <a:r>
              <a:rPr lang="pt-BR" sz="3600" b="1" dirty="0">
                <a:gradFill flip="none" rotWithShape="1">
                  <a:gsLst>
                    <a:gs pos="0">
                      <a:srgbClr val="285066"/>
                    </a:gs>
                    <a:gs pos="24000">
                      <a:srgbClr val="366C89"/>
                    </a:gs>
                    <a:gs pos="100000">
                      <a:srgbClr val="EF7D4F"/>
                    </a:gs>
                  </a:gsLst>
                  <a:lin ang="0" scaled="1"/>
                  <a:tileRect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 (camundongos)</a:t>
            </a:r>
            <a:endParaRPr lang="pt-BR" sz="3600" dirty="0">
              <a:gradFill flip="none" rotWithShape="1">
                <a:gsLst>
                  <a:gs pos="0">
                    <a:srgbClr val="285066"/>
                  </a:gs>
                  <a:gs pos="24000">
                    <a:srgbClr val="366C89"/>
                  </a:gs>
                  <a:gs pos="100000">
                    <a:srgbClr val="EF7D4F"/>
                  </a:gs>
                </a:gsLst>
                <a:lin ang="0" scaled="1"/>
                <a:tileRect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5734312" y="2062579"/>
            <a:ext cx="6026150" cy="0"/>
          </a:xfrm>
          <a:prstGeom prst="line">
            <a:avLst/>
          </a:prstGeom>
          <a:ln w="12700" cap="rnd">
            <a:gradFill flip="none" rotWithShape="1">
              <a:gsLst>
                <a:gs pos="0">
                  <a:srgbClr val="285066"/>
                </a:gs>
                <a:gs pos="50000">
                  <a:srgbClr val="366C89"/>
                </a:gs>
                <a:gs pos="100000">
                  <a:srgbClr val="EF7D4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eform 15"/>
          <p:cNvSpPr>
            <a:spLocks/>
          </p:cNvSpPr>
          <p:nvPr/>
        </p:nvSpPr>
        <p:spPr bwMode="auto">
          <a:xfrm>
            <a:off x="5734312" y="3174992"/>
            <a:ext cx="6026150" cy="946151"/>
          </a:xfrm>
          <a:custGeom>
            <a:avLst/>
            <a:gdLst>
              <a:gd name="T0" fmla="*/ 345 w 6640"/>
              <a:gd name="T1" fmla="*/ 2 h 1539"/>
              <a:gd name="T2" fmla="*/ 364 w 6640"/>
              <a:gd name="T3" fmla="*/ 106 h 1539"/>
              <a:gd name="T4" fmla="*/ 144 w 6640"/>
              <a:gd name="T5" fmla="*/ 295 h 1539"/>
              <a:gd name="T6" fmla="*/ 60 w 6640"/>
              <a:gd name="T7" fmla="*/ 650 h 1539"/>
              <a:gd name="T8" fmla="*/ 34 w 6640"/>
              <a:gd name="T9" fmla="*/ 818 h 1539"/>
              <a:gd name="T10" fmla="*/ 138 w 6640"/>
              <a:gd name="T11" fmla="*/ 979 h 1539"/>
              <a:gd name="T12" fmla="*/ 187 w 6640"/>
              <a:gd name="T13" fmla="*/ 1018 h 1539"/>
              <a:gd name="T14" fmla="*/ 118 w 6640"/>
              <a:gd name="T15" fmla="*/ 1121 h 1539"/>
              <a:gd name="T16" fmla="*/ 162 w 6640"/>
              <a:gd name="T17" fmla="*/ 1119 h 1539"/>
              <a:gd name="T18" fmla="*/ 198 w 6640"/>
              <a:gd name="T19" fmla="*/ 1163 h 1539"/>
              <a:gd name="T20" fmla="*/ 263 w 6640"/>
              <a:gd name="T21" fmla="*/ 1267 h 1539"/>
              <a:gd name="T22" fmla="*/ 226 w 6640"/>
              <a:gd name="T23" fmla="*/ 1384 h 1539"/>
              <a:gd name="T24" fmla="*/ 5667 w 6640"/>
              <a:gd name="T25" fmla="*/ 1503 h 1539"/>
              <a:gd name="T26" fmla="*/ 6157 w 6640"/>
              <a:gd name="T27" fmla="*/ 1407 h 1539"/>
              <a:gd name="T28" fmla="*/ 6299 w 6640"/>
              <a:gd name="T29" fmla="*/ 1120 h 1539"/>
              <a:gd name="T30" fmla="*/ 6429 w 6640"/>
              <a:gd name="T31" fmla="*/ 931 h 1539"/>
              <a:gd name="T32" fmla="*/ 6521 w 6640"/>
              <a:gd name="T33" fmla="*/ 701 h 1539"/>
              <a:gd name="T34" fmla="*/ 6313 w 6640"/>
              <a:gd name="T35" fmla="*/ 700 h 1539"/>
              <a:gd name="T36" fmla="*/ 6514 w 6640"/>
              <a:gd name="T37" fmla="*/ 324 h 1539"/>
              <a:gd name="T38" fmla="*/ 6479 w 6640"/>
              <a:gd name="T39" fmla="*/ 324 h 1539"/>
              <a:gd name="T40" fmla="*/ 6590 w 6640"/>
              <a:gd name="T41" fmla="*/ 135 h 1539"/>
              <a:gd name="T42" fmla="*/ 6556 w 6640"/>
              <a:gd name="T43" fmla="*/ 3 h 1539"/>
              <a:gd name="T44" fmla="*/ 345 w 6640"/>
              <a:gd name="T45" fmla="*/ 2 h 1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640" h="1539">
                <a:moveTo>
                  <a:pt x="345" y="2"/>
                </a:moveTo>
                <a:cubicBezTo>
                  <a:pt x="327" y="2"/>
                  <a:pt x="378" y="70"/>
                  <a:pt x="364" y="106"/>
                </a:cubicBezTo>
                <a:cubicBezTo>
                  <a:pt x="350" y="142"/>
                  <a:pt x="190" y="205"/>
                  <a:pt x="144" y="295"/>
                </a:cubicBezTo>
                <a:cubicBezTo>
                  <a:pt x="98" y="385"/>
                  <a:pt x="95" y="569"/>
                  <a:pt x="60" y="650"/>
                </a:cubicBezTo>
                <a:cubicBezTo>
                  <a:pt x="25" y="731"/>
                  <a:pt x="0" y="766"/>
                  <a:pt x="34" y="818"/>
                </a:cubicBezTo>
                <a:cubicBezTo>
                  <a:pt x="68" y="871"/>
                  <a:pt x="114" y="977"/>
                  <a:pt x="138" y="979"/>
                </a:cubicBezTo>
                <a:cubicBezTo>
                  <a:pt x="161" y="980"/>
                  <a:pt x="209" y="976"/>
                  <a:pt x="187" y="1018"/>
                </a:cubicBezTo>
                <a:cubicBezTo>
                  <a:pt x="165" y="1060"/>
                  <a:pt x="172" y="1086"/>
                  <a:pt x="118" y="1121"/>
                </a:cubicBezTo>
                <a:cubicBezTo>
                  <a:pt x="118" y="1121"/>
                  <a:pt x="107" y="1134"/>
                  <a:pt x="162" y="1119"/>
                </a:cubicBezTo>
                <a:cubicBezTo>
                  <a:pt x="162" y="1119"/>
                  <a:pt x="176" y="1115"/>
                  <a:pt x="198" y="1163"/>
                </a:cubicBezTo>
                <a:cubicBezTo>
                  <a:pt x="220" y="1211"/>
                  <a:pt x="242" y="1267"/>
                  <a:pt x="263" y="1267"/>
                </a:cubicBezTo>
                <a:cubicBezTo>
                  <a:pt x="285" y="1267"/>
                  <a:pt x="253" y="1354"/>
                  <a:pt x="226" y="1384"/>
                </a:cubicBezTo>
                <a:cubicBezTo>
                  <a:pt x="87" y="1539"/>
                  <a:pt x="5493" y="1535"/>
                  <a:pt x="5667" y="1503"/>
                </a:cubicBezTo>
                <a:cubicBezTo>
                  <a:pt x="5841" y="1472"/>
                  <a:pt x="6061" y="1489"/>
                  <a:pt x="6157" y="1407"/>
                </a:cubicBezTo>
                <a:cubicBezTo>
                  <a:pt x="6254" y="1325"/>
                  <a:pt x="6286" y="1266"/>
                  <a:pt x="6299" y="1120"/>
                </a:cubicBezTo>
                <a:cubicBezTo>
                  <a:pt x="6313" y="975"/>
                  <a:pt x="6373" y="980"/>
                  <a:pt x="6429" y="931"/>
                </a:cubicBezTo>
                <a:cubicBezTo>
                  <a:pt x="6485" y="881"/>
                  <a:pt x="6501" y="757"/>
                  <a:pt x="6521" y="701"/>
                </a:cubicBezTo>
                <a:cubicBezTo>
                  <a:pt x="6521" y="701"/>
                  <a:pt x="6289" y="748"/>
                  <a:pt x="6313" y="700"/>
                </a:cubicBezTo>
                <a:cubicBezTo>
                  <a:pt x="6337" y="652"/>
                  <a:pt x="6492" y="596"/>
                  <a:pt x="6514" y="324"/>
                </a:cubicBezTo>
                <a:cubicBezTo>
                  <a:pt x="6479" y="324"/>
                  <a:pt x="6479" y="324"/>
                  <a:pt x="6479" y="324"/>
                </a:cubicBezTo>
                <a:cubicBezTo>
                  <a:pt x="6479" y="324"/>
                  <a:pt x="6552" y="250"/>
                  <a:pt x="6590" y="135"/>
                </a:cubicBezTo>
                <a:cubicBezTo>
                  <a:pt x="6628" y="20"/>
                  <a:pt x="6640" y="7"/>
                  <a:pt x="6556" y="3"/>
                </a:cubicBezTo>
                <a:cubicBezTo>
                  <a:pt x="6473" y="0"/>
                  <a:pt x="880" y="2"/>
                  <a:pt x="345" y="2"/>
                </a:cubicBezTo>
                <a:close/>
              </a:path>
            </a:pathLst>
          </a:custGeom>
          <a:gradFill>
            <a:gsLst>
              <a:gs pos="0">
                <a:srgbClr val="24475A"/>
              </a:gs>
              <a:gs pos="97000">
                <a:srgbClr val="EF7D4F"/>
              </a:gs>
              <a:gs pos="43000">
                <a:srgbClr val="366C89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" name="Freeform 19"/>
          <p:cNvSpPr>
            <a:spLocks/>
          </p:cNvSpPr>
          <p:nvPr/>
        </p:nvSpPr>
        <p:spPr bwMode="auto">
          <a:xfrm>
            <a:off x="5734312" y="4541036"/>
            <a:ext cx="6026150" cy="946149"/>
          </a:xfrm>
          <a:custGeom>
            <a:avLst/>
            <a:gdLst>
              <a:gd name="T0" fmla="*/ 345 w 6640"/>
              <a:gd name="T1" fmla="*/ 2 h 1539"/>
              <a:gd name="T2" fmla="*/ 364 w 6640"/>
              <a:gd name="T3" fmla="*/ 106 h 1539"/>
              <a:gd name="T4" fmla="*/ 144 w 6640"/>
              <a:gd name="T5" fmla="*/ 295 h 1539"/>
              <a:gd name="T6" fmla="*/ 60 w 6640"/>
              <a:gd name="T7" fmla="*/ 650 h 1539"/>
              <a:gd name="T8" fmla="*/ 34 w 6640"/>
              <a:gd name="T9" fmla="*/ 818 h 1539"/>
              <a:gd name="T10" fmla="*/ 138 w 6640"/>
              <a:gd name="T11" fmla="*/ 979 h 1539"/>
              <a:gd name="T12" fmla="*/ 187 w 6640"/>
              <a:gd name="T13" fmla="*/ 1018 h 1539"/>
              <a:gd name="T14" fmla="*/ 118 w 6640"/>
              <a:gd name="T15" fmla="*/ 1121 h 1539"/>
              <a:gd name="T16" fmla="*/ 162 w 6640"/>
              <a:gd name="T17" fmla="*/ 1119 h 1539"/>
              <a:gd name="T18" fmla="*/ 198 w 6640"/>
              <a:gd name="T19" fmla="*/ 1163 h 1539"/>
              <a:gd name="T20" fmla="*/ 263 w 6640"/>
              <a:gd name="T21" fmla="*/ 1267 h 1539"/>
              <a:gd name="T22" fmla="*/ 226 w 6640"/>
              <a:gd name="T23" fmla="*/ 1384 h 1539"/>
              <a:gd name="T24" fmla="*/ 5667 w 6640"/>
              <a:gd name="T25" fmla="*/ 1503 h 1539"/>
              <a:gd name="T26" fmla="*/ 6157 w 6640"/>
              <a:gd name="T27" fmla="*/ 1407 h 1539"/>
              <a:gd name="T28" fmla="*/ 6299 w 6640"/>
              <a:gd name="T29" fmla="*/ 1120 h 1539"/>
              <a:gd name="T30" fmla="*/ 6429 w 6640"/>
              <a:gd name="T31" fmla="*/ 931 h 1539"/>
              <a:gd name="T32" fmla="*/ 6521 w 6640"/>
              <a:gd name="T33" fmla="*/ 701 h 1539"/>
              <a:gd name="T34" fmla="*/ 6313 w 6640"/>
              <a:gd name="T35" fmla="*/ 700 h 1539"/>
              <a:gd name="T36" fmla="*/ 6514 w 6640"/>
              <a:gd name="T37" fmla="*/ 324 h 1539"/>
              <a:gd name="T38" fmla="*/ 6479 w 6640"/>
              <a:gd name="T39" fmla="*/ 324 h 1539"/>
              <a:gd name="T40" fmla="*/ 6590 w 6640"/>
              <a:gd name="T41" fmla="*/ 135 h 1539"/>
              <a:gd name="T42" fmla="*/ 6556 w 6640"/>
              <a:gd name="T43" fmla="*/ 3 h 1539"/>
              <a:gd name="T44" fmla="*/ 345 w 6640"/>
              <a:gd name="T45" fmla="*/ 2 h 1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640" h="1539">
                <a:moveTo>
                  <a:pt x="345" y="2"/>
                </a:moveTo>
                <a:cubicBezTo>
                  <a:pt x="327" y="2"/>
                  <a:pt x="378" y="70"/>
                  <a:pt x="364" y="106"/>
                </a:cubicBezTo>
                <a:cubicBezTo>
                  <a:pt x="350" y="142"/>
                  <a:pt x="190" y="205"/>
                  <a:pt x="144" y="295"/>
                </a:cubicBezTo>
                <a:cubicBezTo>
                  <a:pt x="98" y="385"/>
                  <a:pt x="95" y="569"/>
                  <a:pt x="60" y="650"/>
                </a:cubicBezTo>
                <a:cubicBezTo>
                  <a:pt x="25" y="731"/>
                  <a:pt x="0" y="766"/>
                  <a:pt x="34" y="818"/>
                </a:cubicBezTo>
                <a:cubicBezTo>
                  <a:pt x="68" y="871"/>
                  <a:pt x="114" y="977"/>
                  <a:pt x="138" y="979"/>
                </a:cubicBezTo>
                <a:cubicBezTo>
                  <a:pt x="161" y="980"/>
                  <a:pt x="209" y="976"/>
                  <a:pt x="187" y="1018"/>
                </a:cubicBezTo>
                <a:cubicBezTo>
                  <a:pt x="165" y="1060"/>
                  <a:pt x="172" y="1086"/>
                  <a:pt x="118" y="1121"/>
                </a:cubicBezTo>
                <a:cubicBezTo>
                  <a:pt x="118" y="1121"/>
                  <a:pt x="107" y="1134"/>
                  <a:pt x="162" y="1119"/>
                </a:cubicBezTo>
                <a:cubicBezTo>
                  <a:pt x="162" y="1119"/>
                  <a:pt x="176" y="1115"/>
                  <a:pt x="198" y="1163"/>
                </a:cubicBezTo>
                <a:cubicBezTo>
                  <a:pt x="220" y="1211"/>
                  <a:pt x="242" y="1267"/>
                  <a:pt x="263" y="1267"/>
                </a:cubicBezTo>
                <a:cubicBezTo>
                  <a:pt x="285" y="1267"/>
                  <a:pt x="253" y="1354"/>
                  <a:pt x="226" y="1384"/>
                </a:cubicBezTo>
                <a:cubicBezTo>
                  <a:pt x="87" y="1539"/>
                  <a:pt x="5493" y="1535"/>
                  <a:pt x="5667" y="1503"/>
                </a:cubicBezTo>
                <a:cubicBezTo>
                  <a:pt x="5841" y="1472"/>
                  <a:pt x="6061" y="1489"/>
                  <a:pt x="6157" y="1407"/>
                </a:cubicBezTo>
                <a:cubicBezTo>
                  <a:pt x="6254" y="1325"/>
                  <a:pt x="6286" y="1266"/>
                  <a:pt x="6299" y="1120"/>
                </a:cubicBezTo>
                <a:cubicBezTo>
                  <a:pt x="6313" y="975"/>
                  <a:pt x="6373" y="980"/>
                  <a:pt x="6429" y="931"/>
                </a:cubicBezTo>
                <a:cubicBezTo>
                  <a:pt x="6485" y="881"/>
                  <a:pt x="6501" y="757"/>
                  <a:pt x="6521" y="701"/>
                </a:cubicBezTo>
                <a:cubicBezTo>
                  <a:pt x="6521" y="701"/>
                  <a:pt x="6289" y="748"/>
                  <a:pt x="6313" y="700"/>
                </a:cubicBezTo>
                <a:cubicBezTo>
                  <a:pt x="6337" y="652"/>
                  <a:pt x="6492" y="596"/>
                  <a:pt x="6514" y="324"/>
                </a:cubicBezTo>
                <a:cubicBezTo>
                  <a:pt x="6479" y="324"/>
                  <a:pt x="6479" y="324"/>
                  <a:pt x="6479" y="324"/>
                </a:cubicBezTo>
                <a:cubicBezTo>
                  <a:pt x="6479" y="324"/>
                  <a:pt x="6552" y="250"/>
                  <a:pt x="6590" y="135"/>
                </a:cubicBezTo>
                <a:cubicBezTo>
                  <a:pt x="6628" y="20"/>
                  <a:pt x="6640" y="7"/>
                  <a:pt x="6556" y="3"/>
                </a:cubicBezTo>
                <a:cubicBezTo>
                  <a:pt x="6473" y="0"/>
                  <a:pt x="880" y="2"/>
                  <a:pt x="345" y="2"/>
                </a:cubicBezTo>
                <a:close/>
              </a:path>
            </a:pathLst>
          </a:custGeom>
          <a:gradFill>
            <a:gsLst>
              <a:gs pos="0">
                <a:srgbClr val="24475A"/>
              </a:gs>
              <a:gs pos="97000">
                <a:srgbClr val="EF7D4F"/>
              </a:gs>
              <a:gs pos="43000">
                <a:srgbClr val="366C89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7089295" y="3278735"/>
            <a:ext cx="4269458" cy="7386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ct val="100000"/>
              </a:lnSpc>
            </a:pPr>
            <a:r>
              <a:rPr lang="pt-BR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Previne a inflamação no cérebro infectado</a:t>
            </a: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7089295" y="4772217"/>
            <a:ext cx="4269458" cy="4837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ct val="150000"/>
              </a:lnSpc>
            </a:pPr>
            <a:r>
              <a:rPr lang="pt-BR" sz="2400">
                <a:solidFill>
                  <a:schemeClr val="bg1"/>
                </a:solidFill>
                <a:latin typeface="Century Gothic" panose="020B0502020202020204" pitchFamily="34" charset="0"/>
              </a:rPr>
              <a:t>Reverte o dano na memória</a:t>
            </a:r>
          </a:p>
        </p:txBody>
      </p:sp>
      <p:grpSp>
        <p:nvGrpSpPr>
          <p:cNvPr id="14" name="Group 13"/>
          <p:cNvGrpSpPr/>
          <p:nvPr/>
        </p:nvGrpSpPr>
        <p:grpSpPr>
          <a:xfrm rot="1731039">
            <a:off x="6793494" y="3234640"/>
            <a:ext cx="76199" cy="826854"/>
            <a:chOff x="5289552" y="800100"/>
            <a:chExt cx="76199" cy="5257801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5289552" y="800101"/>
              <a:ext cx="0" cy="525780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5365751" y="800100"/>
              <a:ext cx="0" cy="525780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/>
          <p:cNvGrpSpPr/>
          <p:nvPr/>
        </p:nvGrpSpPr>
        <p:grpSpPr>
          <a:xfrm rot="1731039">
            <a:off x="6793495" y="4605991"/>
            <a:ext cx="76199" cy="826854"/>
            <a:chOff x="5289552" y="800100"/>
            <a:chExt cx="76199" cy="5257801"/>
          </a:xfrm>
        </p:grpSpPr>
        <p:cxnSp>
          <p:nvCxnSpPr>
            <p:cNvPr id="18" name="Straight Connector 17"/>
            <p:cNvCxnSpPr/>
            <p:nvPr/>
          </p:nvCxnSpPr>
          <p:spPr>
            <a:xfrm>
              <a:off x="5289552" y="800101"/>
              <a:ext cx="0" cy="525780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65751" y="800100"/>
              <a:ext cx="0" cy="525780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3" name="Imagem 32">
            <a:extLst>
              <a:ext uri="{FF2B5EF4-FFF2-40B4-BE49-F238E27FC236}">
                <a16:creationId xmlns="" xmlns:a16="http://schemas.microsoft.com/office/drawing/2014/main" id="{97702608-4B18-A34C-8689-5E6DE0C78763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95180" y="4583397"/>
            <a:ext cx="616820" cy="776119"/>
          </a:xfrm>
          <a:prstGeom prst="rect">
            <a:avLst/>
          </a:prstGeom>
        </p:spPr>
      </p:pic>
      <p:pic>
        <p:nvPicPr>
          <p:cNvPr id="41" name="Imagem 40">
            <a:extLst>
              <a:ext uri="{FF2B5EF4-FFF2-40B4-BE49-F238E27FC236}">
                <a16:creationId xmlns="" xmlns:a16="http://schemas.microsoft.com/office/drawing/2014/main" id="{F3EAB408-2102-154F-B0D5-5E9D77E2C48F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4295987">
            <a:off x="6030447" y="3166793"/>
            <a:ext cx="678037" cy="880611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="" xmlns:a16="http://schemas.microsoft.com/office/drawing/2014/main" id="{E91B221F-4709-6C46-94ED-550D5A1E8A0E}"/>
              </a:ext>
            </a:extLst>
          </p:cNvPr>
          <p:cNvSpPr txBox="1">
            <a:spLocks/>
          </p:cNvSpPr>
          <p:nvPr/>
        </p:nvSpPr>
        <p:spPr>
          <a:xfrm>
            <a:off x="5734312" y="1671331"/>
            <a:ext cx="6026150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ct val="100000"/>
              </a:lnSpc>
            </a:pPr>
            <a:r>
              <a:rPr lang="pt-BR" sz="1800" b="1" dirty="0" err="1">
                <a:latin typeface="Century Gothic" panose="020B0502020202020204" pitchFamily="34" charset="0"/>
              </a:rPr>
              <a:t>Infliximabe</a:t>
            </a:r>
            <a:r>
              <a:rPr lang="pt-BR" sz="1800" dirty="0">
                <a:latin typeface="Century Gothic" panose="020B0502020202020204" pitchFamily="34" charset="0"/>
              </a:rPr>
              <a:t>: utilizado para tratar doenças autoimunes</a:t>
            </a:r>
          </a:p>
        </p:txBody>
      </p:sp>
      <p:pic>
        <p:nvPicPr>
          <p:cNvPr id="40" name="Espaço Reservado para Imagem 39">
            <a:extLst>
              <a:ext uri="{FF2B5EF4-FFF2-40B4-BE49-F238E27FC236}">
                <a16:creationId xmlns="" xmlns:a16="http://schemas.microsoft.com/office/drawing/2014/main" id="{B4D6E387-0405-A14B-8FBA-58B08976F2C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71018" y="337826"/>
            <a:ext cx="5391951" cy="6522443"/>
          </a:xfrm>
        </p:spPr>
      </p:pic>
      <p:sp>
        <p:nvSpPr>
          <p:cNvPr id="46" name="CaixaDeTexto 45">
            <a:extLst>
              <a:ext uri="{FF2B5EF4-FFF2-40B4-BE49-F238E27FC236}">
                <a16:creationId xmlns="" xmlns:a16="http://schemas.microsoft.com/office/drawing/2014/main" id="{8E33925F-5210-D845-9B1D-ADAFEB5896AA}"/>
              </a:ext>
            </a:extLst>
          </p:cNvPr>
          <p:cNvSpPr txBox="1"/>
          <p:nvPr/>
        </p:nvSpPr>
        <p:spPr>
          <a:xfrm>
            <a:off x="6598733" y="6472900"/>
            <a:ext cx="54139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Figueiredo, Barros-Aragão, </a:t>
            </a:r>
            <a:r>
              <a:rPr lang="pt-BR" sz="1600" dirty="0" err="1"/>
              <a:t>Neris</a:t>
            </a:r>
            <a:r>
              <a:rPr lang="pt-BR" sz="1600" dirty="0"/>
              <a:t> e col., </a:t>
            </a:r>
            <a:r>
              <a:rPr lang="pt-BR" sz="1600" dirty="0" err="1"/>
              <a:t>Nature</a:t>
            </a:r>
            <a:r>
              <a:rPr lang="pt-BR" sz="1600" dirty="0"/>
              <a:t> </a:t>
            </a:r>
            <a:r>
              <a:rPr lang="pt-BR" sz="1600" dirty="0" err="1"/>
              <a:t>Comm</a:t>
            </a:r>
            <a:r>
              <a:rPr lang="pt-BR" sz="1600" dirty="0"/>
              <a:t>., 2019</a:t>
            </a:r>
          </a:p>
        </p:txBody>
      </p:sp>
    </p:spTree>
    <p:extLst>
      <p:ext uri="{BB962C8B-B14F-4D97-AF65-F5344CB8AC3E}">
        <p14:creationId xmlns:p14="http://schemas.microsoft.com/office/powerpoint/2010/main" val="16071905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="" xmlns:a16="http://schemas.microsoft.com/office/drawing/2014/main" id="{4BB1B442-0216-1241-9484-6C9B321E435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34897" y="5973615"/>
            <a:ext cx="2477809" cy="807519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411816" y="338200"/>
            <a:ext cx="5768340" cy="7478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b="1" dirty="0" err="1">
                <a:gradFill>
                  <a:gsLst>
                    <a:gs pos="0">
                      <a:srgbClr val="285066"/>
                    </a:gs>
                    <a:gs pos="45000">
                      <a:srgbClr val="366C89"/>
                    </a:gs>
                    <a:gs pos="100000">
                      <a:srgbClr val="EF7D4F"/>
                    </a:gs>
                  </a:gsLst>
                  <a:lin ang="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olaboradores</a:t>
            </a:r>
            <a:endParaRPr lang="en-US" sz="5400" b="1" dirty="0">
              <a:gradFill>
                <a:gsLst>
                  <a:gs pos="0">
                    <a:srgbClr val="285066"/>
                  </a:gs>
                  <a:gs pos="45000">
                    <a:srgbClr val="366C89"/>
                  </a:gs>
                  <a:gs pos="100000">
                    <a:srgbClr val="EF7D4F"/>
                  </a:gs>
                </a:gsLst>
                <a:lin ang="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" name="Imagem" descr="Imagem">
            <a:extLst>
              <a:ext uri="{FF2B5EF4-FFF2-40B4-BE49-F238E27FC236}">
                <a16:creationId xmlns="" xmlns:a16="http://schemas.microsoft.com/office/drawing/2014/main" id="{AD58BBD6-17E2-9B41-AFCE-71CC920C4A8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/>
          </a:blip>
          <a:srcRect/>
          <a:stretch>
            <a:fillRect/>
          </a:stretch>
        </p:blipFill>
        <p:spPr>
          <a:xfrm>
            <a:off x="7069067" y="255765"/>
            <a:ext cx="4692128" cy="5392901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Imagem 3">
            <a:extLst>
              <a:ext uri="{FF2B5EF4-FFF2-40B4-BE49-F238E27FC236}">
                <a16:creationId xmlns="" xmlns:a16="http://schemas.microsoft.com/office/drawing/2014/main" id="{60F0E6C8-895B-FD4B-86E3-F39D56EDD3A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1913" y="5773186"/>
            <a:ext cx="1291125" cy="931762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="" xmlns:a16="http://schemas.microsoft.com/office/drawing/2014/main" id="{4725F014-85D7-324A-8CD7-6C830477C42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9554" y="5511241"/>
            <a:ext cx="1841204" cy="1481457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="" xmlns:a16="http://schemas.microsoft.com/office/drawing/2014/main" id="{38A20698-2A7A-0D40-A6FF-3D65D1D6E52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7274" y="5778581"/>
            <a:ext cx="2247623" cy="946779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="" xmlns:a16="http://schemas.microsoft.com/office/drawing/2014/main" id="{99D5972E-C4BA-F343-BFC4-AA1730D5526E}"/>
              </a:ext>
            </a:extLst>
          </p:cNvPr>
          <p:cNvSpPr txBox="1"/>
          <p:nvPr/>
        </p:nvSpPr>
        <p:spPr>
          <a:xfrm>
            <a:off x="6853664" y="-4102"/>
            <a:ext cx="24149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Profa. Claudia Figueiredo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="" xmlns:a16="http://schemas.microsoft.com/office/drawing/2014/main" id="{7263590E-27A4-E34A-AD23-69F06C2A9F05}"/>
              </a:ext>
            </a:extLst>
          </p:cNvPr>
          <p:cNvSpPr txBox="1"/>
          <p:nvPr/>
        </p:nvSpPr>
        <p:spPr>
          <a:xfrm>
            <a:off x="10143892" y="1382451"/>
            <a:ext cx="18327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err="1"/>
              <a:t>MSc</a:t>
            </a:r>
            <a:r>
              <a:rPr lang="pt-BR" sz="1600" dirty="0"/>
              <a:t>. Romulo </a:t>
            </a:r>
            <a:r>
              <a:rPr lang="pt-BR" sz="1600" dirty="0" err="1"/>
              <a:t>Neris</a:t>
            </a:r>
            <a:endParaRPr lang="pt-BR" sz="1600" dirty="0"/>
          </a:p>
        </p:txBody>
      </p:sp>
      <p:sp>
        <p:nvSpPr>
          <p:cNvPr id="12" name="CaixaDeTexto 11">
            <a:extLst>
              <a:ext uri="{FF2B5EF4-FFF2-40B4-BE49-F238E27FC236}">
                <a16:creationId xmlns="" xmlns:a16="http://schemas.microsoft.com/office/drawing/2014/main" id="{F4417948-3109-D040-A06D-8FBBC91ECA59}"/>
              </a:ext>
            </a:extLst>
          </p:cNvPr>
          <p:cNvSpPr txBox="1"/>
          <p:nvPr/>
        </p:nvSpPr>
        <p:spPr>
          <a:xfrm>
            <a:off x="6235365" y="3195457"/>
            <a:ext cx="14042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600" dirty="0"/>
              <a:t>Prof. Sérgio Ferreira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="" xmlns:a16="http://schemas.microsoft.com/office/drawing/2014/main" id="{48776F93-3432-0A4B-9157-CDF1A10CD6FA}"/>
              </a:ext>
            </a:extLst>
          </p:cNvPr>
          <p:cNvSpPr txBox="1"/>
          <p:nvPr/>
        </p:nvSpPr>
        <p:spPr>
          <a:xfrm>
            <a:off x="10876590" y="3195457"/>
            <a:ext cx="14769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Profa. Julia Clarke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="" xmlns:a16="http://schemas.microsoft.com/office/drawing/2014/main" id="{993F4B11-FB24-D949-8CE7-3E10CD47AF7D}"/>
              </a:ext>
            </a:extLst>
          </p:cNvPr>
          <p:cNvSpPr txBox="1"/>
          <p:nvPr/>
        </p:nvSpPr>
        <p:spPr>
          <a:xfrm>
            <a:off x="6937504" y="5091778"/>
            <a:ext cx="14042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600" dirty="0"/>
              <a:t>Profa. </a:t>
            </a:r>
            <a:r>
              <a:rPr lang="pt-BR" sz="1600" dirty="0" err="1"/>
              <a:t>Iranaia</a:t>
            </a:r>
            <a:r>
              <a:rPr lang="pt-BR" sz="1600" dirty="0"/>
              <a:t> Miranda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="" xmlns:a16="http://schemas.microsoft.com/office/drawing/2014/main" id="{884C6711-5A0B-B142-8168-9286CA7CC328}"/>
              </a:ext>
            </a:extLst>
          </p:cNvPr>
          <p:cNvSpPr txBox="1"/>
          <p:nvPr/>
        </p:nvSpPr>
        <p:spPr>
          <a:xfrm>
            <a:off x="10057653" y="5593238"/>
            <a:ext cx="21343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Prof.a Andrea Da </a:t>
            </a:r>
            <a:r>
              <a:rPr lang="pt-BR" sz="1600" dirty="0" err="1"/>
              <a:t>Poian</a:t>
            </a:r>
            <a:endParaRPr lang="pt-BR" sz="1600" dirty="0"/>
          </a:p>
        </p:txBody>
      </p:sp>
      <p:pic>
        <p:nvPicPr>
          <p:cNvPr id="16" name="Imagem 15">
            <a:extLst>
              <a:ext uri="{FF2B5EF4-FFF2-40B4-BE49-F238E27FC236}">
                <a16:creationId xmlns="" xmlns:a16="http://schemas.microsoft.com/office/drawing/2014/main" id="{E0A7C1F8-0220-D44F-BF39-182F47F46CF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59938" y="267203"/>
            <a:ext cx="1854145" cy="1911982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="" xmlns:a16="http://schemas.microsoft.com/office/drawing/2014/main" id="{99CDE9DF-0C7C-4743-BF49-236BC10F4DC4}"/>
              </a:ext>
            </a:extLst>
          </p:cNvPr>
          <p:cNvSpPr txBox="1"/>
          <p:nvPr/>
        </p:nvSpPr>
        <p:spPr>
          <a:xfrm>
            <a:off x="4612562" y="2160676"/>
            <a:ext cx="2748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/>
              <a:t>Dra. Fernanda Barros-Aragão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="" xmlns:a16="http://schemas.microsoft.com/office/drawing/2014/main" id="{2250A752-D075-8241-B2B4-6AD076731DAD}"/>
              </a:ext>
            </a:extLst>
          </p:cNvPr>
          <p:cNvSpPr txBox="1"/>
          <p:nvPr/>
        </p:nvSpPr>
        <p:spPr>
          <a:xfrm>
            <a:off x="3723690" y="5434632"/>
            <a:ext cx="2748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/>
              <a:t>Apoio financeiro: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="" xmlns:a16="http://schemas.microsoft.com/office/drawing/2014/main" id="{594A748B-B9E2-C149-BBFC-0AF726524A0C}"/>
              </a:ext>
            </a:extLst>
          </p:cNvPr>
          <p:cNvSpPr txBox="1"/>
          <p:nvPr/>
        </p:nvSpPr>
        <p:spPr>
          <a:xfrm>
            <a:off x="376237" y="1157094"/>
            <a:ext cx="3604372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Profa. Dra. Claudia P. Figueiredo</a:t>
            </a:r>
          </a:p>
          <a:p>
            <a:r>
              <a:rPr lang="pt-BR" sz="1600" dirty="0"/>
              <a:t>Dra. Fernanda Barros-Aragão</a:t>
            </a:r>
          </a:p>
          <a:p>
            <a:r>
              <a:rPr lang="pt-BR" sz="1600" dirty="0" err="1"/>
              <a:t>Msc</a:t>
            </a:r>
            <a:r>
              <a:rPr lang="pt-BR" sz="1600" dirty="0"/>
              <a:t>. Romulo </a:t>
            </a:r>
            <a:r>
              <a:rPr lang="pt-BR" sz="1600" dirty="0" err="1"/>
              <a:t>Neris</a:t>
            </a:r>
            <a:endParaRPr lang="pt-BR" sz="1600" dirty="0"/>
          </a:p>
          <a:p>
            <a:r>
              <a:rPr lang="pt-BR" sz="1600" dirty="0" err="1"/>
              <a:t>Msc</a:t>
            </a:r>
            <a:r>
              <a:rPr lang="pt-BR" sz="1600" dirty="0"/>
              <a:t>. Paula S. </a:t>
            </a:r>
            <a:r>
              <a:rPr lang="pt-BR" sz="1600" dirty="0" err="1"/>
              <a:t>Frost</a:t>
            </a:r>
            <a:endParaRPr lang="pt-BR" sz="1600" dirty="0"/>
          </a:p>
          <a:p>
            <a:r>
              <a:rPr lang="pt-BR" sz="1600" dirty="0" err="1"/>
              <a:t>Msc</a:t>
            </a:r>
            <a:r>
              <a:rPr lang="pt-BR" sz="1600" dirty="0"/>
              <a:t>. Carolina Soares</a:t>
            </a:r>
          </a:p>
          <a:p>
            <a:r>
              <a:rPr lang="pt-BR" sz="1600" dirty="0" err="1"/>
              <a:t>Msc</a:t>
            </a:r>
            <a:r>
              <a:rPr lang="pt-BR" sz="1600" dirty="0"/>
              <a:t>. Isis Souza</a:t>
            </a:r>
          </a:p>
          <a:p>
            <a:r>
              <a:rPr lang="pt-BR" sz="1600" dirty="0"/>
              <a:t>Dra. </a:t>
            </a:r>
            <a:r>
              <a:rPr lang="pt-BR" sz="1600" dirty="0" err="1"/>
              <a:t>Julianna</a:t>
            </a:r>
            <a:r>
              <a:rPr lang="pt-BR" sz="1600" dirty="0"/>
              <a:t> </a:t>
            </a:r>
            <a:r>
              <a:rPr lang="pt-BR" sz="1600" dirty="0" err="1"/>
              <a:t>Zeidler</a:t>
            </a:r>
            <a:endParaRPr lang="pt-BR" sz="1600" dirty="0"/>
          </a:p>
          <a:p>
            <a:r>
              <a:rPr lang="pt-BR" sz="1600" dirty="0"/>
              <a:t>Dra. Danielle </a:t>
            </a:r>
            <a:r>
              <a:rPr lang="pt-BR" sz="1600" dirty="0" err="1"/>
              <a:t>Zamberlan</a:t>
            </a:r>
            <a:endParaRPr lang="pt-BR" sz="1600" dirty="0"/>
          </a:p>
          <a:p>
            <a:r>
              <a:rPr lang="pt-BR" sz="1600" dirty="0" err="1"/>
              <a:t>Msc</a:t>
            </a:r>
            <a:r>
              <a:rPr lang="pt-BR" sz="1600" dirty="0"/>
              <a:t>. Virgínia Souza</a:t>
            </a:r>
          </a:p>
          <a:p>
            <a:r>
              <a:rPr lang="pt-BR" sz="1600" dirty="0"/>
              <a:t>Dra. Amanda Souza</a:t>
            </a:r>
          </a:p>
          <a:p>
            <a:r>
              <a:rPr lang="pt-BR" sz="1600" dirty="0"/>
              <a:t>Prof. Dr. André Guimarães</a:t>
            </a:r>
          </a:p>
          <a:p>
            <a:r>
              <a:rPr lang="pt-BR" sz="1600" dirty="0"/>
              <a:t>Profa. Dra. Maria </a:t>
            </a:r>
            <a:r>
              <a:rPr lang="pt-BR" sz="1600" dirty="0" err="1"/>
              <a:t>Bellio</a:t>
            </a:r>
            <a:endParaRPr lang="pt-BR" sz="1600" dirty="0"/>
          </a:p>
          <a:p>
            <a:r>
              <a:rPr lang="pt-BR" sz="1600" dirty="0"/>
              <a:t>Prof. Dr. Jorge M. de Souza</a:t>
            </a:r>
          </a:p>
          <a:p>
            <a:r>
              <a:rPr lang="pt-BR" sz="1600" dirty="0"/>
              <a:t>Profa. Dra. </a:t>
            </a:r>
            <a:r>
              <a:rPr lang="pt-BR" sz="1600" dirty="0" err="1"/>
              <a:t>Soniza</a:t>
            </a:r>
            <a:r>
              <a:rPr lang="pt-BR" sz="1600" dirty="0"/>
              <a:t> Alves-Leon</a:t>
            </a:r>
          </a:p>
          <a:p>
            <a:r>
              <a:rPr lang="pt-BR" sz="1600" dirty="0"/>
              <a:t>Profa. Dra. Gilda Neves</a:t>
            </a:r>
          </a:p>
          <a:p>
            <a:r>
              <a:rPr lang="pt-BR" sz="1600" dirty="0"/>
              <a:t>Prof. Dr. Heitor Paula-Neto</a:t>
            </a:r>
          </a:p>
          <a:p>
            <a:r>
              <a:rPr lang="pt-BR" sz="1600" dirty="0"/>
              <a:t>Prof. Dr. Newton Castro</a:t>
            </a:r>
          </a:p>
          <a:p>
            <a:r>
              <a:rPr lang="pt-BR" sz="1600" dirty="0"/>
              <a:t>Profa. Dra. Fernanda De Felice</a:t>
            </a:r>
          </a:p>
          <a:p>
            <a:r>
              <a:rPr lang="pt-BR" sz="1600" dirty="0"/>
              <a:t>Profa. Dra. </a:t>
            </a:r>
            <a:r>
              <a:rPr lang="pt-BR" sz="1600" dirty="0" err="1"/>
              <a:t>Iranaia</a:t>
            </a:r>
            <a:r>
              <a:rPr lang="pt-BR" sz="1600" dirty="0"/>
              <a:t> Miranda</a:t>
            </a:r>
          </a:p>
          <a:p>
            <a:r>
              <a:rPr lang="pt-BR" sz="1600" dirty="0"/>
              <a:t>Profa. Dra. Julia Clarke</a:t>
            </a:r>
          </a:p>
          <a:p>
            <a:r>
              <a:rPr lang="pt-BR" sz="1600" dirty="0"/>
              <a:t>Profa. Dra. Andrea Da </a:t>
            </a:r>
            <a:r>
              <a:rPr lang="pt-BR" sz="1600" dirty="0" err="1"/>
              <a:t>Poian</a:t>
            </a:r>
            <a:endParaRPr lang="pt-BR" sz="1600" dirty="0"/>
          </a:p>
          <a:p>
            <a:r>
              <a:rPr lang="pt-BR" sz="1600" dirty="0"/>
              <a:t>Prof. Dr. Sérgio Ferreira</a:t>
            </a:r>
          </a:p>
        </p:txBody>
      </p:sp>
    </p:spTree>
    <p:extLst>
      <p:ext uri="{BB962C8B-B14F-4D97-AF65-F5344CB8AC3E}">
        <p14:creationId xmlns:p14="http://schemas.microsoft.com/office/powerpoint/2010/main" val="8434750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ounded Rectangle 48">
            <a:extLst>
              <a:ext uri="{FF2B5EF4-FFF2-40B4-BE49-F238E27FC236}">
                <a16:creationId xmlns="" xmlns:a16="http://schemas.microsoft.com/office/drawing/2014/main" id="{028EFEE0-D9BD-2D4B-9021-A2901AA68C6D}"/>
              </a:ext>
            </a:extLst>
          </p:cNvPr>
          <p:cNvSpPr/>
          <p:nvPr/>
        </p:nvSpPr>
        <p:spPr>
          <a:xfrm rot="2700000">
            <a:off x="8154629" y="4465250"/>
            <a:ext cx="1657819" cy="1657819"/>
          </a:xfrm>
          <a:prstGeom prst="roundRect">
            <a:avLst>
              <a:gd name="adj" fmla="val 7478"/>
            </a:avLst>
          </a:prstGeom>
          <a:gradFill flip="none" rotWithShape="1">
            <a:gsLst>
              <a:gs pos="15000">
                <a:srgbClr val="285066"/>
              </a:gs>
              <a:gs pos="29000">
                <a:srgbClr val="366C89"/>
              </a:gs>
              <a:gs pos="92000">
                <a:srgbClr val="EF7D4F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Rounded Rectangle 48">
            <a:extLst>
              <a:ext uri="{FF2B5EF4-FFF2-40B4-BE49-F238E27FC236}">
                <a16:creationId xmlns="" xmlns:a16="http://schemas.microsoft.com/office/drawing/2014/main" id="{912603D3-B9FC-6648-B365-F0252AE4750B}"/>
              </a:ext>
            </a:extLst>
          </p:cNvPr>
          <p:cNvSpPr/>
          <p:nvPr/>
        </p:nvSpPr>
        <p:spPr>
          <a:xfrm rot="2700000">
            <a:off x="5212405" y="4433009"/>
            <a:ext cx="1657819" cy="1657819"/>
          </a:xfrm>
          <a:prstGeom prst="roundRect">
            <a:avLst>
              <a:gd name="adj" fmla="val 7478"/>
            </a:avLst>
          </a:prstGeom>
          <a:gradFill flip="none" rotWithShape="1">
            <a:gsLst>
              <a:gs pos="15000">
                <a:srgbClr val="285066"/>
              </a:gs>
              <a:gs pos="29000">
                <a:srgbClr val="366C89"/>
              </a:gs>
              <a:gs pos="92000">
                <a:srgbClr val="EF7D4F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9" name="Rounded Rectangle 48"/>
          <p:cNvSpPr/>
          <p:nvPr/>
        </p:nvSpPr>
        <p:spPr>
          <a:xfrm rot="2700000">
            <a:off x="2257548" y="4465249"/>
            <a:ext cx="1657819" cy="1657819"/>
          </a:xfrm>
          <a:prstGeom prst="roundRect">
            <a:avLst>
              <a:gd name="adj" fmla="val 7478"/>
            </a:avLst>
          </a:prstGeom>
          <a:gradFill flip="none" rotWithShape="1">
            <a:gsLst>
              <a:gs pos="15000">
                <a:srgbClr val="285066"/>
              </a:gs>
              <a:gs pos="29000">
                <a:srgbClr val="366C89"/>
              </a:gs>
              <a:gs pos="92000">
                <a:srgbClr val="EF7D4F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082926" y="970582"/>
            <a:ext cx="6026150" cy="61555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pt-BR" sz="2000" dirty="0">
                <a:latin typeface="Century Gothic" panose="020B0502020202020204" pitchFamily="34" charset="0"/>
              </a:rPr>
              <a:t>O vírus da Zika infecta o cérebro adulto e pode trazer problemas na memória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96480" y="183601"/>
            <a:ext cx="2999040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4800" b="1" dirty="0">
                <a:gradFill>
                  <a:gsLst>
                    <a:gs pos="0">
                      <a:srgbClr val="285066"/>
                    </a:gs>
                    <a:gs pos="24000">
                      <a:srgbClr val="366C89"/>
                    </a:gs>
                    <a:gs pos="100000">
                      <a:srgbClr val="EF7D4F"/>
                    </a:gs>
                  </a:gsLst>
                  <a:lin ang="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GENDA</a:t>
            </a:r>
            <a:endParaRPr lang="pt-BR" sz="4800" dirty="0">
              <a:gradFill>
                <a:gsLst>
                  <a:gs pos="0">
                    <a:srgbClr val="285066"/>
                  </a:gs>
                  <a:gs pos="24000">
                    <a:srgbClr val="366C89"/>
                  </a:gs>
                  <a:gs pos="100000">
                    <a:srgbClr val="EF7D4F"/>
                  </a:gs>
                </a:gsLst>
                <a:lin ang="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3082925" y="883328"/>
            <a:ext cx="6026150" cy="0"/>
          </a:xfrm>
          <a:prstGeom prst="line">
            <a:avLst/>
          </a:prstGeom>
          <a:ln w="12700" cap="rnd">
            <a:gradFill flip="none" rotWithShape="1">
              <a:gsLst>
                <a:gs pos="0">
                  <a:srgbClr val="285066"/>
                </a:gs>
                <a:gs pos="45000">
                  <a:srgbClr val="366C89"/>
                </a:gs>
                <a:gs pos="100000">
                  <a:srgbClr val="EF7D4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 txBox="1">
            <a:spLocks/>
          </p:cNvSpPr>
          <p:nvPr/>
        </p:nvSpPr>
        <p:spPr>
          <a:xfrm>
            <a:off x="2865441" y="1861452"/>
            <a:ext cx="47157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8000" b="1" dirty="0">
                <a:solidFill>
                  <a:schemeClr val="tx2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1</a:t>
            </a:r>
            <a:endParaRPr lang="pt-BR" sz="8000" dirty="0">
              <a:solidFill>
                <a:schemeClr val="tx2"/>
              </a:solidFill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5808150" y="1861452"/>
            <a:ext cx="47157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8000" b="1" dirty="0">
                <a:solidFill>
                  <a:schemeClr val="tx2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2</a:t>
            </a:r>
            <a:endParaRPr lang="pt-BR" sz="8000" dirty="0">
              <a:solidFill>
                <a:schemeClr val="tx2"/>
              </a:solidFill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8760899" y="1861452"/>
            <a:ext cx="47157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8000" b="1" dirty="0">
                <a:solidFill>
                  <a:schemeClr val="tx2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3</a:t>
            </a:r>
            <a:endParaRPr lang="pt-BR" sz="8000" dirty="0">
              <a:solidFill>
                <a:schemeClr val="tx2"/>
              </a:solidFill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4544938" y="1915239"/>
            <a:ext cx="0" cy="4348849"/>
          </a:xfrm>
          <a:prstGeom prst="line">
            <a:avLst/>
          </a:prstGeom>
          <a:ln>
            <a:gradFill>
              <a:gsLst>
                <a:gs pos="0">
                  <a:srgbClr val="24475A"/>
                </a:gs>
                <a:gs pos="50000">
                  <a:srgbClr val="366C89"/>
                </a:gs>
                <a:gs pos="100000">
                  <a:srgbClr val="EF7D4F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512426" y="1915239"/>
            <a:ext cx="0" cy="4348849"/>
          </a:xfrm>
          <a:prstGeom prst="line">
            <a:avLst/>
          </a:prstGeom>
          <a:ln>
            <a:gradFill>
              <a:gsLst>
                <a:gs pos="0">
                  <a:srgbClr val="24475A"/>
                </a:gs>
                <a:gs pos="50000">
                  <a:srgbClr val="366C89"/>
                </a:gs>
                <a:gs pos="100000">
                  <a:srgbClr val="EF7D4F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/>
          <p:cNvSpPr txBox="1">
            <a:spLocks/>
          </p:cNvSpPr>
          <p:nvPr/>
        </p:nvSpPr>
        <p:spPr>
          <a:xfrm>
            <a:off x="1845889" y="3038121"/>
            <a:ext cx="2510682" cy="9233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pt-BR" sz="2000" b="1" dirty="0">
                <a:latin typeface="Century Gothic" panose="020B0502020202020204" pitchFamily="34" charset="0"/>
              </a:rPr>
              <a:t>Por que estudar os efeitos do vírus da Zika em adultos?</a:t>
            </a: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4788598" y="3192009"/>
            <a:ext cx="2510682" cy="61555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pt-BR" sz="2000" b="1" dirty="0">
                <a:latin typeface="Century Gothic" panose="020B0502020202020204" pitchFamily="34" charset="0"/>
              </a:rPr>
              <a:t>O que descobrimos?</a:t>
            </a:r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7741347" y="3192009"/>
            <a:ext cx="2510682" cy="61555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pt-BR" sz="2000" b="1" dirty="0">
                <a:latin typeface="Century Gothic" panose="020B0502020202020204" pitchFamily="34" charset="0"/>
              </a:rPr>
              <a:t>Quais são as perspectivas?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="" xmlns:a16="http://schemas.microsoft.com/office/drawing/2014/main" id="{FFC05DF5-C4FA-3C4E-8867-E5E1C7325CF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9384" y="4824025"/>
            <a:ext cx="1273329" cy="811748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="" xmlns:a16="http://schemas.microsoft.com/office/drawing/2014/main" id="{D6F9F508-333E-934B-8342-22EDA594F63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8806" y="4824022"/>
            <a:ext cx="1441009" cy="870609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="" xmlns:a16="http://schemas.microsoft.com/office/drawing/2014/main" id="{8C2FC30C-8717-9743-81FE-8EC2BCC7A76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7119" y="4747052"/>
            <a:ext cx="1506227" cy="1024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376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Espaço Reservado para Imagem 15">
            <a:extLst>
              <a:ext uri="{FF2B5EF4-FFF2-40B4-BE49-F238E27FC236}">
                <a16:creationId xmlns="" xmlns:a16="http://schemas.microsoft.com/office/drawing/2014/main" id="{C678A728-2C9B-2A42-A39A-76F1209053A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092" r="14092"/>
          <a:stretch>
            <a:fillRect/>
          </a:stretch>
        </p:blipFill>
        <p:spPr/>
      </p:pic>
      <p:sp>
        <p:nvSpPr>
          <p:cNvPr id="3" name="Freeform 72"/>
          <p:cNvSpPr>
            <a:spLocks/>
          </p:cNvSpPr>
          <p:nvPr/>
        </p:nvSpPr>
        <p:spPr bwMode="auto">
          <a:xfrm>
            <a:off x="3176" y="612774"/>
            <a:ext cx="8199740" cy="5810133"/>
          </a:xfrm>
          <a:custGeom>
            <a:avLst/>
            <a:gdLst>
              <a:gd name="T0" fmla="*/ 3592 w 3592"/>
              <a:gd name="T1" fmla="*/ 2623 h 2623"/>
              <a:gd name="T2" fmla="*/ 2702 w 3592"/>
              <a:gd name="T3" fmla="*/ 2623 h 2623"/>
              <a:gd name="T4" fmla="*/ 2218 w 3592"/>
              <a:gd name="T5" fmla="*/ 2325 h 2623"/>
              <a:gd name="T6" fmla="*/ 2208 w 3592"/>
              <a:gd name="T7" fmla="*/ 2307 h 2623"/>
              <a:gd name="T8" fmla="*/ 2178 w 3592"/>
              <a:gd name="T9" fmla="*/ 2143 h 2623"/>
              <a:gd name="T10" fmla="*/ 2169 w 3592"/>
              <a:gd name="T11" fmla="*/ 1895 h 2623"/>
              <a:gd name="T12" fmla="*/ 2169 w 3592"/>
              <a:gd name="T13" fmla="*/ 1346 h 2623"/>
              <a:gd name="T14" fmla="*/ 2169 w 3592"/>
              <a:gd name="T15" fmla="*/ 1216 h 2623"/>
              <a:gd name="T16" fmla="*/ 1817 w 3592"/>
              <a:gd name="T17" fmla="*/ 821 h 2623"/>
              <a:gd name="T18" fmla="*/ 1461 w 3592"/>
              <a:gd name="T19" fmla="*/ 1073 h 2623"/>
              <a:gd name="T20" fmla="*/ 1458 w 3592"/>
              <a:gd name="T21" fmla="*/ 1081 h 2623"/>
              <a:gd name="T22" fmla="*/ 1447 w 3592"/>
              <a:gd name="T23" fmla="*/ 1151 h 2623"/>
              <a:gd name="T24" fmla="*/ 1345 w 3592"/>
              <a:gd name="T25" fmla="*/ 1500 h 2623"/>
              <a:gd name="T26" fmla="*/ 884 w 3592"/>
              <a:gd name="T27" fmla="*/ 1722 h 2623"/>
              <a:gd name="T28" fmla="*/ 525 w 3592"/>
              <a:gd name="T29" fmla="*/ 1588 h 2623"/>
              <a:gd name="T30" fmla="*/ 366 w 3592"/>
              <a:gd name="T31" fmla="*/ 1200 h 2623"/>
              <a:gd name="T32" fmla="*/ 354 w 3592"/>
              <a:gd name="T33" fmla="*/ 747 h 2623"/>
              <a:gd name="T34" fmla="*/ 356 w 3592"/>
              <a:gd name="T35" fmla="*/ 586 h 2623"/>
              <a:gd name="T36" fmla="*/ 180 w 3592"/>
              <a:gd name="T37" fmla="*/ 242 h 2623"/>
              <a:gd name="T38" fmla="*/ 0 w 3592"/>
              <a:gd name="T39" fmla="*/ 175 h 2623"/>
              <a:gd name="T40" fmla="*/ 0 w 3592"/>
              <a:gd name="T41" fmla="*/ 0 h 2623"/>
              <a:gd name="T42" fmla="*/ 273 w 3592"/>
              <a:gd name="T43" fmla="*/ 92 h 2623"/>
              <a:gd name="T44" fmla="*/ 532 w 3592"/>
              <a:gd name="T45" fmla="*/ 586 h 2623"/>
              <a:gd name="T46" fmla="*/ 530 w 3592"/>
              <a:gd name="T47" fmla="*/ 750 h 2623"/>
              <a:gd name="T48" fmla="*/ 651 w 3592"/>
              <a:gd name="T49" fmla="*/ 1465 h 2623"/>
              <a:gd name="T50" fmla="*/ 884 w 3592"/>
              <a:gd name="T51" fmla="*/ 1546 h 2623"/>
              <a:gd name="T52" fmla="*/ 1196 w 3592"/>
              <a:gd name="T53" fmla="*/ 1406 h 2623"/>
              <a:gd name="T54" fmla="*/ 1272 w 3592"/>
              <a:gd name="T55" fmla="*/ 1130 h 2623"/>
              <a:gd name="T56" fmla="*/ 1297 w 3592"/>
              <a:gd name="T57" fmla="*/ 1008 h 2623"/>
              <a:gd name="T58" fmla="*/ 1301 w 3592"/>
              <a:gd name="T59" fmla="*/ 1001 h 2623"/>
              <a:gd name="T60" fmla="*/ 1443 w 3592"/>
              <a:gd name="T61" fmla="*/ 785 h 2623"/>
              <a:gd name="T62" fmla="*/ 1817 w 3592"/>
              <a:gd name="T63" fmla="*/ 645 h 2623"/>
              <a:gd name="T64" fmla="*/ 2223 w 3592"/>
              <a:gd name="T65" fmla="*/ 847 h 2623"/>
              <a:gd name="T66" fmla="*/ 2345 w 3592"/>
              <a:gd name="T67" fmla="*/ 1216 h 2623"/>
              <a:gd name="T68" fmla="*/ 2345 w 3592"/>
              <a:gd name="T69" fmla="*/ 1347 h 2623"/>
              <a:gd name="T70" fmla="*/ 2345 w 3592"/>
              <a:gd name="T71" fmla="*/ 1870 h 2623"/>
              <a:gd name="T72" fmla="*/ 2363 w 3592"/>
              <a:gd name="T73" fmla="*/ 2224 h 2623"/>
              <a:gd name="T74" fmla="*/ 2373 w 3592"/>
              <a:gd name="T75" fmla="*/ 2240 h 2623"/>
              <a:gd name="T76" fmla="*/ 2702 w 3592"/>
              <a:gd name="T77" fmla="*/ 2447 h 2623"/>
              <a:gd name="T78" fmla="*/ 3592 w 3592"/>
              <a:gd name="T79" fmla="*/ 2447 h 2623"/>
              <a:gd name="T80" fmla="*/ 3592 w 3592"/>
              <a:gd name="T81" fmla="*/ 2623 h 2623"/>
              <a:gd name="connsiteX0" fmla="*/ 10306 w 10306"/>
              <a:gd name="connsiteY0" fmla="*/ 10008 h 10087"/>
              <a:gd name="connsiteX1" fmla="*/ 7522 w 10306"/>
              <a:gd name="connsiteY1" fmla="*/ 10000 h 10087"/>
              <a:gd name="connsiteX2" fmla="*/ 6175 w 10306"/>
              <a:gd name="connsiteY2" fmla="*/ 8864 h 10087"/>
              <a:gd name="connsiteX3" fmla="*/ 6147 w 10306"/>
              <a:gd name="connsiteY3" fmla="*/ 8795 h 10087"/>
              <a:gd name="connsiteX4" fmla="*/ 6063 w 10306"/>
              <a:gd name="connsiteY4" fmla="*/ 8170 h 10087"/>
              <a:gd name="connsiteX5" fmla="*/ 6038 w 10306"/>
              <a:gd name="connsiteY5" fmla="*/ 7225 h 10087"/>
              <a:gd name="connsiteX6" fmla="*/ 6038 w 10306"/>
              <a:gd name="connsiteY6" fmla="*/ 5132 h 10087"/>
              <a:gd name="connsiteX7" fmla="*/ 6038 w 10306"/>
              <a:gd name="connsiteY7" fmla="*/ 4636 h 10087"/>
              <a:gd name="connsiteX8" fmla="*/ 5058 w 10306"/>
              <a:gd name="connsiteY8" fmla="*/ 3130 h 10087"/>
              <a:gd name="connsiteX9" fmla="*/ 4067 w 10306"/>
              <a:gd name="connsiteY9" fmla="*/ 4091 h 10087"/>
              <a:gd name="connsiteX10" fmla="*/ 4059 w 10306"/>
              <a:gd name="connsiteY10" fmla="*/ 4121 h 10087"/>
              <a:gd name="connsiteX11" fmla="*/ 4028 w 10306"/>
              <a:gd name="connsiteY11" fmla="*/ 4388 h 10087"/>
              <a:gd name="connsiteX12" fmla="*/ 3744 w 10306"/>
              <a:gd name="connsiteY12" fmla="*/ 5719 h 10087"/>
              <a:gd name="connsiteX13" fmla="*/ 2461 w 10306"/>
              <a:gd name="connsiteY13" fmla="*/ 6565 h 10087"/>
              <a:gd name="connsiteX14" fmla="*/ 1462 w 10306"/>
              <a:gd name="connsiteY14" fmla="*/ 6054 h 10087"/>
              <a:gd name="connsiteX15" fmla="*/ 1019 w 10306"/>
              <a:gd name="connsiteY15" fmla="*/ 4575 h 10087"/>
              <a:gd name="connsiteX16" fmla="*/ 986 w 10306"/>
              <a:gd name="connsiteY16" fmla="*/ 2848 h 10087"/>
              <a:gd name="connsiteX17" fmla="*/ 991 w 10306"/>
              <a:gd name="connsiteY17" fmla="*/ 2234 h 10087"/>
              <a:gd name="connsiteX18" fmla="*/ 501 w 10306"/>
              <a:gd name="connsiteY18" fmla="*/ 923 h 10087"/>
              <a:gd name="connsiteX19" fmla="*/ 0 w 10306"/>
              <a:gd name="connsiteY19" fmla="*/ 667 h 10087"/>
              <a:gd name="connsiteX20" fmla="*/ 0 w 10306"/>
              <a:gd name="connsiteY20" fmla="*/ 0 h 10087"/>
              <a:gd name="connsiteX21" fmla="*/ 760 w 10306"/>
              <a:gd name="connsiteY21" fmla="*/ 351 h 10087"/>
              <a:gd name="connsiteX22" fmla="*/ 1481 w 10306"/>
              <a:gd name="connsiteY22" fmla="*/ 2234 h 10087"/>
              <a:gd name="connsiteX23" fmla="*/ 1476 w 10306"/>
              <a:gd name="connsiteY23" fmla="*/ 2859 h 10087"/>
              <a:gd name="connsiteX24" fmla="*/ 1812 w 10306"/>
              <a:gd name="connsiteY24" fmla="*/ 5585 h 10087"/>
              <a:gd name="connsiteX25" fmla="*/ 2461 w 10306"/>
              <a:gd name="connsiteY25" fmla="*/ 5894 h 10087"/>
              <a:gd name="connsiteX26" fmla="*/ 3330 w 10306"/>
              <a:gd name="connsiteY26" fmla="*/ 5360 h 10087"/>
              <a:gd name="connsiteX27" fmla="*/ 3541 w 10306"/>
              <a:gd name="connsiteY27" fmla="*/ 4308 h 10087"/>
              <a:gd name="connsiteX28" fmla="*/ 3611 w 10306"/>
              <a:gd name="connsiteY28" fmla="*/ 3843 h 10087"/>
              <a:gd name="connsiteX29" fmla="*/ 3622 w 10306"/>
              <a:gd name="connsiteY29" fmla="*/ 3816 h 10087"/>
              <a:gd name="connsiteX30" fmla="*/ 4017 w 10306"/>
              <a:gd name="connsiteY30" fmla="*/ 2993 h 10087"/>
              <a:gd name="connsiteX31" fmla="*/ 5058 w 10306"/>
              <a:gd name="connsiteY31" fmla="*/ 2459 h 10087"/>
              <a:gd name="connsiteX32" fmla="*/ 6189 w 10306"/>
              <a:gd name="connsiteY32" fmla="*/ 3229 h 10087"/>
              <a:gd name="connsiteX33" fmla="*/ 6528 w 10306"/>
              <a:gd name="connsiteY33" fmla="*/ 4636 h 10087"/>
              <a:gd name="connsiteX34" fmla="*/ 6528 w 10306"/>
              <a:gd name="connsiteY34" fmla="*/ 5135 h 10087"/>
              <a:gd name="connsiteX35" fmla="*/ 6528 w 10306"/>
              <a:gd name="connsiteY35" fmla="*/ 7129 h 10087"/>
              <a:gd name="connsiteX36" fmla="*/ 6579 w 10306"/>
              <a:gd name="connsiteY36" fmla="*/ 8479 h 10087"/>
              <a:gd name="connsiteX37" fmla="*/ 6606 w 10306"/>
              <a:gd name="connsiteY37" fmla="*/ 8540 h 10087"/>
              <a:gd name="connsiteX38" fmla="*/ 7522 w 10306"/>
              <a:gd name="connsiteY38" fmla="*/ 9329 h 10087"/>
              <a:gd name="connsiteX39" fmla="*/ 10000 w 10306"/>
              <a:gd name="connsiteY39" fmla="*/ 9329 h 10087"/>
              <a:gd name="connsiteX40" fmla="*/ 10306 w 10306"/>
              <a:gd name="connsiteY40" fmla="*/ 10008 h 10087"/>
              <a:gd name="connsiteX0" fmla="*/ 10306 w 10306"/>
              <a:gd name="connsiteY0" fmla="*/ 10008 h 10008"/>
              <a:gd name="connsiteX1" fmla="*/ 7522 w 10306"/>
              <a:gd name="connsiteY1" fmla="*/ 10000 h 10008"/>
              <a:gd name="connsiteX2" fmla="*/ 6175 w 10306"/>
              <a:gd name="connsiteY2" fmla="*/ 8864 h 10008"/>
              <a:gd name="connsiteX3" fmla="*/ 6147 w 10306"/>
              <a:gd name="connsiteY3" fmla="*/ 8795 h 10008"/>
              <a:gd name="connsiteX4" fmla="*/ 6063 w 10306"/>
              <a:gd name="connsiteY4" fmla="*/ 8170 h 10008"/>
              <a:gd name="connsiteX5" fmla="*/ 6038 w 10306"/>
              <a:gd name="connsiteY5" fmla="*/ 7225 h 10008"/>
              <a:gd name="connsiteX6" fmla="*/ 6038 w 10306"/>
              <a:gd name="connsiteY6" fmla="*/ 5132 h 10008"/>
              <a:gd name="connsiteX7" fmla="*/ 6038 w 10306"/>
              <a:gd name="connsiteY7" fmla="*/ 4636 h 10008"/>
              <a:gd name="connsiteX8" fmla="*/ 5058 w 10306"/>
              <a:gd name="connsiteY8" fmla="*/ 3130 h 10008"/>
              <a:gd name="connsiteX9" fmla="*/ 4067 w 10306"/>
              <a:gd name="connsiteY9" fmla="*/ 4091 h 10008"/>
              <a:gd name="connsiteX10" fmla="*/ 4059 w 10306"/>
              <a:gd name="connsiteY10" fmla="*/ 4121 h 10008"/>
              <a:gd name="connsiteX11" fmla="*/ 4028 w 10306"/>
              <a:gd name="connsiteY11" fmla="*/ 4388 h 10008"/>
              <a:gd name="connsiteX12" fmla="*/ 3744 w 10306"/>
              <a:gd name="connsiteY12" fmla="*/ 5719 h 10008"/>
              <a:gd name="connsiteX13" fmla="*/ 2461 w 10306"/>
              <a:gd name="connsiteY13" fmla="*/ 6565 h 10008"/>
              <a:gd name="connsiteX14" fmla="*/ 1462 w 10306"/>
              <a:gd name="connsiteY14" fmla="*/ 6054 h 10008"/>
              <a:gd name="connsiteX15" fmla="*/ 1019 w 10306"/>
              <a:gd name="connsiteY15" fmla="*/ 4575 h 10008"/>
              <a:gd name="connsiteX16" fmla="*/ 986 w 10306"/>
              <a:gd name="connsiteY16" fmla="*/ 2848 h 10008"/>
              <a:gd name="connsiteX17" fmla="*/ 991 w 10306"/>
              <a:gd name="connsiteY17" fmla="*/ 2234 h 10008"/>
              <a:gd name="connsiteX18" fmla="*/ 501 w 10306"/>
              <a:gd name="connsiteY18" fmla="*/ 923 h 10008"/>
              <a:gd name="connsiteX19" fmla="*/ 0 w 10306"/>
              <a:gd name="connsiteY19" fmla="*/ 667 h 10008"/>
              <a:gd name="connsiteX20" fmla="*/ 0 w 10306"/>
              <a:gd name="connsiteY20" fmla="*/ 0 h 10008"/>
              <a:gd name="connsiteX21" fmla="*/ 760 w 10306"/>
              <a:gd name="connsiteY21" fmla="*/ 351 h 10008"/>
              <a:gd name="connsiteX22" fmla="*/ 1481 w 10306"/>
              <a:gd name="connsiteY22" fmla="*/ 2234 h 10008"/>
              <a:gd name="connsiteX23" fmla="*/ 1476 w 10306"/>
              <a:gd name="connsiteY23" fmla="*/ 2859 h 10008"/>
              <a:gd name="connsiteX24" fmla="*/ 1812 w 10306"/>
              <a:gd name="connsiteY24" fmla="*/ 5585 h 10008"/>
              <a:gd name="connsiteX25" fmla="*/ 2461 w 10306"/>
              <a:gd name="connsiteY25" fmla="*/ 5894 h 10008"/>
              <a:gd name="connsiteX26" fmla="*/ 3330 w 10306"/>
              <a:gd name="connsiteY26" fmla="*/ 5360 h 10008"/>
              <a:gd name="connsiteX27" fmla="*/ 3541 w 10306"/>
              <a:gd name="connsiteY27" fmla="*/ 4308 h 10008"/>
              <a:gd name="connsiteX28" fmla="*/ 3611 w 10306"/>
              <a:gd name="connsiteY28" fmla="*/ 3843 h 10008"/>
              <a:gd name="connsiteX29" fmla="*/ 3622 w 10306"/>
              <a:gd name="connsiteY29" fmla="*/ 3816 h 10008"/>
              <a:gd name="connsiteX30" fmla="*/ 4017 w 10306"/>
              <a:gd name="connsiteY30" fmla="*/ 2993 h 10008"/>
              <a:gd name="connsiteX31" fmla="*/ 5058 w 10306"/>
              <a:gd name="connsiteY31" fmla="*/ 2459 h 10008"/>
              <a:gd name="connsiteX32" fmla="*/ 6189 w 10306"/>
              <a:gd name="connsiteY32" fmla="*/ 3229 h 10008"/>
              <a:gd name="connsiteX33" fmla="*/ 6528 w 10306"/>
              <a:gd name="connsiteY33" fmla="*/ 4636 h 10008"/>
              <a:gd name="connsiteX34" fmla="*/ 6528 w 10306"/>
              <a:gd name="connsiteY34" fmla="*/ 5135 h 10008"/>
              <a:gd name="connsiteX35" fmla="*/ 6528 w 10306"/>
              <a:gd name="connsiteY35" fmla="*/ 7129 h 10008"/>
              <a:gd name="connsiteX36" fmla="*/ 6579 w 10306"/>
              <a:gd name="connsiteY36" fmla="*/ 8479 h 10008"/>
              <a:gd name="connsiteX37" fmla="*/ 6606 w 10306"/>
              <a:gd name="connsiteY37" fmla="*/ 8540 h 10008"/>
              <a:gd name="connsiteX38" fmla="*/ 7522 w 10306"/>
              <a:gd name="connsiteY38" fmla="*/ 9329 h 10008"/>
              <a:gd name="connsiteX39" fmla="*/ 10000 w 10306"/>
              <a:gd name="connsiteY39" fmla="*/ 9329 h 10008"/>
              <a:gd name="connsiteX40" fmla="*/ 10306 w 10306"/>
              <a:gd name="connsiteY40" fmla="*/ 10008 h 10008"/>
              <a:gd name="connsiteX0" fmla="*/ 10306 w 10318"/>
              <a:gd name="connsiteY0" fmla="*/ 10008 h 10008"/>
              <a:gd name="connsiteX1" fmla="*/ 7522 w 10318"/>
              <a:gd name="connsiteY1" fmla="*/ 10000 h 10008"/>
              <a:gd name="connsiteX2" fmla="*/ 6175 w 10318"/>
              <a:gd name="connsiteY2" fmla="*/ 8864 h 10008"/>
              <a:gd name="connsiteX3" fmla="*/ 6147 w 10318"/>
              <a:gd name="connsiteY3" fmla="*/ 8795 h 10008"/>
              <a:gd name="connsiteX4" fmla="*/ 6063 w 10318"/>
              <a:gd name="connsiteY4" fmla="*/ 8170 h 10008"/>
              <a:gd name="connsiteX5" fmla="*/ 6038 w 10318"/>
              <a:gd name="connsiteY5" fmla="*/ 7225 h 10008"/>
              <a:gd name="connsiteX6" fmla="*/ 6038 w 10318"/>
              <a:gd name="connsiteY6" fmla="*/ 5132 h 10008"/>
              <a:gd name="connsiteX7" fmla="*/ 6038 w 10318"/>
              <a:gd name="connsiteY7" fmla="*/ 4636 h 10008"/>
              <a:gd name="connsiteX8" fmla="*/ 5058 w 10318"/>
              <a:gd name="connsiteY8" fmla="*/ 3130 h 10008"/>
              <a:gd name="connsiteX9" fmla="*/ 4067 w 10318"/>
              <a:gd name="connsiteY9" fmla="*/ 4091 h 10008"/>
              <a:gd name="connsiteX10" fmla="*/ 4059 w 10318"/>
              <a:gd name="connsiteY10" fmla="*/ 4121 h 10008"/>
              <a:gd name="connsiteX11" fmla="*/ 4028 w 10318"/>
              <a:gd name="connsiteY11" fmla="*/ 4388 h 10008"/>
              <a:gd name="connsiteX12" fmla="*/ 3744 w 10318"/>
              <a:gd name="connsiteY12" fmla="*/ 5719 h 10008"/>
              <a:gd name="connsiteX13" fmla="*/ 2461 w 10318"/>
              <a:gd name="connsiteY13" fmla="*/ 6565 h 10008"/>
              <a:gd name="connsiteX14" fmla="*/ 1462 w 10318"/>
              <a:gd name="connsiteY14" fmla="*/ 6054 h 10008"/>
              <a:gd name="connsiteX15" fmla="*/ 1019 w 10318"/>
              <a:gd name="connsiteY15" fmla="*/ 4575 h 10008"/>
              <a:gd name="connsiteX16" fmla="*/ 986 w 10318"/>
              <a:gd name="connsiteY16" fmla="*/ 2848 h 10008"/>
              <a:gd name="connsiteX17" fmla="*/ 991 w 10318"/>
              <a:gd name="connsiteY17" fmla="*/ 2234 h 10008"/>
              <a:gd name="connsiteX18" fmla="*/ 501 w 10318"/>
              <a:gd name="connsiteY18" fmla="*/ 923 h 10008"/>
              <a:gd name="connsiteX19" fmla="*/ 0 w 10318"/>
              <a:gd name="connsiteY19" fmla="*/ 667 h 10008"/>
              <a:gd name="connsiteX20" fmla="*/ 0 w 10318"/>
              <a:gd name="connsiteY20" fmla="*/ 0 h 10008"/>
              <a:gd name="connsiteX21" fmla="*/ 760 w 10318"/>
              <a:gd name="connsiteY21" fmla="*/ 351 h 10008"/>
              <a:gd name="connsiteX22" fmla="*/ 1481 w 10318"/>
              <a:gd name="connsiteY22" fmla="*/ 2234 h 10008"/>
              <a:gd name="connsiteX23" fmla="*/ 1476 w 10318"/>
              <a:gd name="connsiteY23" fmla="*/ 2859 h 10008"/>
              <a:gd name="connsiteX24" fmla="*/ 1812 w 10318"/>
              <a:gd name="connsiteY24" fmla="*/ 5585 h 10008"/>
              <a:gd name="connsiteX25" fmla="*/ 2461 w 10318"/>
              <a:gd name="connsiteY25" fmla="*/ 5894 h 10008"/>
              <a:gd name="connsiteX26" fmla="*/ 3330 w 10318"/>
              <a:gd name="connsiteY26" fmla="*/ 5360 h 10008"/>
              <a:gd name="connsiteX27" fmla="*/ 3541 w 10318"/>
              <a:gd name="connsiteY27" fmla="*/ 4308 h 10008"/>
              <a:gd name="connsiteX28" fmla="*/ 3611 w 10318"/>
              <a:gd name="connsiteY28" fmla="*/ 3843 h 10008"/>
              <a:gd name="connsiteX29" fmla="*/ 3622 w 10318"/>
              <a:gd name="connsiteY29" fmla="*/ 3816 h 10008"/>
              <a:gd name="connsiteX30" fmla="*/ 4017 w 10318"/>
              <a:gd name="connsiteY30" fmla="*/ 2993 h 10008"/>
              <a:gd name="connsiteX31" fmla="*/ 5058 w 10318"/>
              <a:gd name="connsiteY31" fmla="*/ 2459 h 10008"/>
              <a:gd name="connsiteX32" fmla="*/ 6189 w 10318"/>
              <a:gd name="connsiteY32" fmla="*/ 3229 h 10008"/>
              <a:gd name="connsiteX33" fmla="*/ 6528 w 10318"/>
              <a:gd name="connsiteY33" fmla="*/ 4636 h 10008"/>
              <a:gd name="connsiteX34" fmla="*/ 6528 w 10318"/>
              <a:gd name="connsiteY34" fmla="*/ 5135 h 10008"/>
              <a:gd name="connsiteX35" fmla="*/ 6528 w 10318"/>
              <a:gd name="connsiteY35" fmla="*/ 7129 h 10008"/>
              <a:gd name="connsiteX36" fmla="*/ 6579 w 10318"/>
              <a:gd name="connsiteY36" fmla="*/ 8479 h 10008"/>
              <a:gd name="connsiteX37" fmla="*/ 6606 w 10318"/>
              <a:gd name="connsiteY37" fmla="*/ 8540 h 10008"/>
              <a:gd name="connsiteX38" fmla="*/ 7522 w 10318"/>
              <a:gd name="connsiteY38" fmla="*/ 9329 h 10008"/>
              <a:gd name="connsiteX39" fmla="*/ 10318 w 10318"/>
              <a:gd name="connsiteY39" fmla="*/ 9345 h 10008"/>
              <a:gd name="connsiteX40" fmla="*/ 10306 w 10318"/>
              <a:gd name="connsiteY40" fmla="*/ 10008 h 10008"/>
              <a:gd name="connsiteX0" fmla="*/ 10306 w 10318"/>
              <a:gd name="connsiteY0" fmla="*/ 10008 h 10008"/>
              <a:gd name="connsiteX1" fmla="*/ 7522 w 10318"/>
              <a:gd name="connsiteY1" fmla="*/ 10000 h 10008"/>
              <a:gd name="connsiteX2" fmla="*/ 6175 w 10318"/>
              <a:gd name="connsiteY2" fmla="*/ 8864 h 10008"/>
              <a:gd name="connsiteX3" fmla="*/ 6147 w 10318"/>
              <a:gd name="connsiteY3" fmla="*/ 8795 h 10008"/>
              <a:gd name="connsiteX4" fmla="*/ 6063 w 10318"/>
              <a:gd name="connsiteY4" fmla="*/ 8170 h 10008"/>
              <a:gd name="connsiteX5" fmla="*/ 6038 w 10318"/>
              <a:gd name="connsiteY5" fmla="*/ 7225 h 10008"/>
              <a:gd name="connsiteX6" fmla="*/ 6038 w 10318"/>
              <a:gd name="connsiteY6" fmla="*/ 5132 h 10008"/>
              <a:gd name="connsiteX7" fmla="*/ 6038 w 10318"/>
              <a:gd name="connsiteY7" fmla="*/ 4636 h 10008"/>
              <a:gd name="connsiteX8" fmla="*/ 5058 w 10318"/>
              <a:gd name="connsiteY8" fmla="*/ 3130 h 10008"/>
              <a:gd name="connsiteX9" fmla="*/ 4067 w 10318"/>
              <a:gd name="connsiteY9" fmla="*/ 4091 h 10008"/>
              <a:gd name="connsiteX10" fmla="*/ 4059 w 10318"/>
              <a:gd name="connsiteY10" fmla="*/ 4121 h 10008"/>
              <a:gd name="connsiteX11" fmla="*/ 4028 w 10318"/>
              <a:gd name="connsiteY11" fmla="*/ 4388 h 10008"/>
              <a:gd name="connsiteX12" fmla="*/ 3744 w 10318"/>
              <a:gd name="connsiteY12" fmla="*/ 5719 h 10008"/>
              <a:gd name="connsiteX13" fmla="*/ 2461 w 10318"/>
              <a:gd name="connsiteY13" fmla="*/ 6565 h 10008"/>
              <a:gd name="connsiteX14" fmla="*/ 1462 w 10318"/>
              <a:gd name="connsiteY14" fmla="*/ 6054 h 10008"/>
              <a:gd name="connsiteX15" fmla="*/ 1019 w 10318"/>
              <a:gd name="connsiteY15" fmla="*/ 4575 h 10008"/>
              <a:gd name="connsiteX16" fmla="*/ 986 w 10318"/>
              <a:gd name="connsiteY16" fmla="*/ 2848 h 10008"/>
              <a:gd name="connsiteX17" fmla="*/ 991 w 10318"/>
              <a:gd name="connsiteY17" fmla="*/ 2234 h 10008"/>
              <a:gd name="connsiteX18" fmla="*/ 501 w 10318"/>
              <a:gd name="connsiteY18" fmla="*/ 923 h 10008"/>
              <a:gd name="connsiteX19" fmla="*/ 0 w 10318"/>
              <a:gd name="connsiteY19" fmla="*/ 667 h 10008"/>
              <a:gd name="connsiteX20" fmla="*/ 0 w 10318"/>
              <a:gd name="connsiteY20" fmla="*/ 0 h 10008"/>
              <a:gd name="connsiteX21" fmla="*/ 760 w 10318"/>
              <a:gd name="connsiteY21" fmla="*/ 351 h 10008"/>
              <a:gd name="connsiteX22" fmla="*/ 1481 w 10318"/>
              <a:gd name="connsiteY22" fmla="*/ 2234 h 10008"/>
              <a:gd name="connsiteX23" fmla="*/ 1476 w 10318"/>
              <a:gd name="connsiteY23" fmla="*/ 2859 h 10008"/>
              <a:gd name="connsiteX24" fmla="*/ 1812 w 10318"/>
              <a:gd name="connsiteY24" fmla="*/ 5585 h 10008"/>
              <a:gd name="connsiteX25" fmla="*/ 2461 w 10318"/>
              <a:gd name="connsiteY25" fmla="*/ 5894 h 10008"/>
              <a:gd name="connsiteX26" fmla="*/ 3330 w 10318"/>
              <a:gd name="connsiteY26" fmla="*/ 5360 h 10008"/>
              <a:gd name="connsiteX27" fmla="*/ 3541 w 10318"/>
              <a:gd name="connsiteY27" fmla="*/ 4308 h 10008"/>
              <a:gd name="connsiteX28" fmla="*/ 3611 w 10318"/>
              <a:gd name="connsiteY28" fmla="*/ 3843 h 10008"/>
              <a:gd name="connsiteX29" fmla="*/ 3622 w 10318"/>
              <a:gd name="connsiteY29" fmla="*/ 3816 h 10008"/>
              <a:gd name="connsiteX30" fmla="*/ 4017 w 10318"/>
              <a:gd name="connsiteY30" fmla="*/ 2993 h 10008"/>
              <a:gd name="connsiteX31" fmla="*/ 5058 w 10318"/>
              <a:gd name="connsiteY31" fmla="*/ 2459 h 10008"/>
              <a:gd name="connsiteX32" fmla="*/ 6189 w 10318"/>
              <a:gd name="connsiteY32" fmla="*/ 3229 h 10008"/>
              <a:gd name="connsiteX33" fmla="*/ 6528 w 10318"/>
              <a:gd name="connsiteY33" fmla="*/ 4636 h 10008"/>
              <a:gd name="connsiteX34" fmla="*/ 6528 w 10318"/>
              <a:gd name="connsiteY34" fmla="*/ 5135 h 10008"/>
              <a:gd name="connsiteX35" fmla="*/ 6528 w 10318"/>
              <a:gd name="connsiteY35" fmla="*/ 7129 h 10008"/>
              <a:gd name="connsiteX36" fmla="*/ 6579 w 10318"/>
              <a:gd name="connsiteY36" fmla="*/ 8479 h 10008"/>
              <a:gd name="connsiteX37" fmla="*/ 6606 w 10318"/>
              <a:gd name="connsiteY37" fmla="*/ 8540 h 10008"/>
              <a:gd name="connsiteX38" fmla="*/ 7522 w 10318"/>
              <a:gd name="connsiteY38" fmla="*/ 9329 h 10008"/>
              <a:gd name="connsiteX39" fmla="*/ 10318 w 10318"/>
              <a:gd name="connsiteY39" fmla="*/ 9345 h 10008"/>
              <a:gd name="connsiteX40" fmla="*/ 10306 w 10318"/>
              <a:gd name="connsiteY40" fmla="*/ 10008 h 10008"/>
              <a:gd name="connsiteX0" fmla="*/ 10306 w 10318"/>
              <a:gd name="connsiteY0" fmla="*/ 10008 h 10008"/>
              <a:gd name="connsiteX1" fmla="*/ 7522 w 10318"/>
              <a:gd name="connsiteY1" fmla="*/ 10000 h 10008"/>
              <a:gd name="connsiteX2" fmla="*/ 6175 w 10318"/>
              <a:gd name="connsiteY2" fmla="*/ 8864 h 10008"/>
              <a:gd name="connsiteX3" fmla="*/ 6147 w 10318"/>
              <a:gd name="connsiteY3" fmla="*/ 8795 h 10008"/>
              <a:gd name="connsiteX4" fmla="*/ 6063 w 10318"/>
              <a:gd name="connsiteY4" fmla="*/ 8170 h 10008"/>
              <a:gd name="connsiteX5" fmla="*/ 6038 w 10318"/>
              <a:gd name="connsiteY5" fmla="*/ 7225 h 10008"/>
              <a:gd name="connsiteX6" fmla="*/ 6038 w 10318"/>
              <a:gd name="connsiteY6" fmla="*/ 5132 h 10008"/>
              <a:gd name="connsiteX7" fmla="*/ 6038 w 10318"/>
              <a:gd name="connsiteY7" fmla="*/ 4636 h 10008"/>
              <a:gd name="connsiteX8" fmla="*/ 5058 w 10318"/>
              <a:gd name="connsiteY8" fmla="*/ 3130 h 10008"/>
              <a:gd name="connsiteX9" fmla="*/ 4067 w 10318"/>
              <a:gd name="connsiteY9" fmla="*/ 4091 h 10008"/>
              <a:gd name="connsiteX10" fmla="*/ 4059 w 10318"/>
              <a:gd name="connsiteY10" fmla="*/ 4121 h 10008"/>
              <a:gd name="connsiteX11" fmla="*/ 4028 w 10318"/>
              <a:gd name="connsiteY11" fmla="*/ 4388 h 10008"/>
              <a:gd name="connsiteX12" fmla="*/ 3744 w 10318"/>
              <a:gd name="connsiteY12" fmla="*/ 5719 h 10008"/>
              <a:gd name="connsiteX13" fmla="*/ 2461 w 10318"/>
              <a:gd name="connsiteY13" fmla="*/ 6565 h 10008"/>
              <a:gd name="connsiteX14" fmla="*/ 1462 w 10318"/>
              <a:gd name="connsiteY14" fmla="*/ 6054 h 10008"/>
              <a:gd name="connsiteX15" fmla="*/ 1019 w 10318"/>
              <a:gd name="connsiteY15" fmla="*/ 4575 h 10008"/>
              <a:gd name="connsiteX16" fmla="*/ 986 w 10318"/>
              <a:gd name="connsiteY16" fmla="*/ 2848 h 10008"/>
              <a:gd name="connsiteX17" fmla="*/ 991 w 10318"/>
              <a:gd name="connsiteY17" fmla="*/ 2234 h 10008"/>
              <a:gd name="connsiteX18" fmla="*/ 501 w 10318"/>
              <a:gd name="connsiteY18" fmla="*/ 923 h 10008"/>
              <a:gd name="connsiteX19" fmla="*/ 0 w 10318"/>
              <a:gd name="connsiteY19" fmla="*/ 667 h 10008"/>
              <a:gd name="connsiteX20" fmla="*/ 0 w 10318"/>
              <a:gd name="connsiteY20" fmla="*/ 0 h 10008"/>
              <a:gd name="connsiteX21" fmla="*/ 760 w 10318"/>
              <a:gd name="connsiteY21" fmla="*/ 351 h 10008"/>
              <a:gd name="connsiteX22" fmla="*/ 1481 w 10318"/>
              <a:gd name="connsiteY22" fmla="*/ 2234 h 10008"/>
              <a:gd name="connsiteX23" fmla="*/ 1476 w 10318"/>
              <a:gd name="connsiteY23" fmla="*/ 2859 h 10008"/>
              <a:gd name="connsiteX24" fmla="*/ 1812 w 10318"/>
              <a:gd name="connsiteY24" fmla="*/ 5585 h 10008"/>
              <a:gd name="connsiteX25" fmla="*/ 2461 w 10318"/>
              <a:gd name="connsiteY25" fmla="*/ 5894 h 10008"/>
              <a:gd name="connsiteX26" fmla="*/ 3330 w 10318"/>
              <a:gd name="connsiteY26" fmla="*/ 5360 h 10008"/>
              <a:gd name="connsiteX27" fmla="*/ 3541 w 10318"/>
              <a:gd name="connsiteY27" fmla="*/ 4308 h 10008"/>
              <a:gd name="connsiteX28" fmla="*/ 3611 w 10318"/>
              <a:gd name="connsiteY28" fmla="*/ 3843 h 10008"/>
              <a:gd name="connsiteX29" fmla="*/ 3622 w 10318"/>
              <a:gd name="connsiteY29" fmla="*/ 3816 h 10008"/>
              <a:gd name="connsiteX30" fmla="*/ 4017 w 10318"/>
              <a:gd name="connsiteY30" fmla="*/ 2993 h 10008"/>
              <a:gd name="connsiteX31" fmla="*/ 5058 w 10318"/>
              <a:gd name="connsiteY31" fmla="*/ 2459 h 10008"/>
              <a:gd name="connsiteX32" fmla="*/ 6189 w 10318"/>
              <a:gd name="connsiteY32" fmla="*/ 3229 h 10008"/>
              <a:gd name="connsiteX33" fmla="*/ 6528 w 10318"/>
              <a:gd name="connsiteY33" fmla="*/ 4636 h 10008"/>
              <a:gd name="connsiteX34" fmla="*/ 6528 w 10318"/>
              <a:gd name="connsiteY34" fmla="*/ 5135 h 10008"/>
              <a:gd name="connsiteX35" fmla="*/ 6528 w 10318"/>
              <a:gd name="connsiteY35" fmla="*/ 7129 h 10008"/>
              <a:gd name="connsiteX36" fmla="*/ 6579 w 10318"/>
              <a:gd name="connsiteY36" fmla="*/ 8479 h 10008"/>
              <a:gd name="connsiteX37" fmla="*/ 6606 w 10318"/>
              <a:gd name="connsiteY37" fmla="*/ 8540 h 10008"/>
              <a:gd name="connsiteX38" fmla="*/ 7589 w 10318"/>
              <a:gd name="connsiteY38" fmla="*/ 9329 h 10008"/>
              <a:gd name="connsiteX39" fmla="*/ 10318 w 10318"/>
              <a:gd name="connsiteY39" fmla="*/ 9345 h 10008"/>
              <a:gd name="connsiteX40" fmla="*/ 10306 w 10318"/>
              <a:gd name="connsiteY40" fmla="*/ 10008 h 10008"/>
              <a:gd name="connsiteX0" fmla="*/ 10306 w 10318"/>
              <a:gd name="connsiteY0" fmla="*/ 10008 h 10008"/>
              <a:gd name="connsiteX1" fmla="*/ 7522 w 10318"/>
              <a:gd name="connsiteY1" fmla="*/ 10000 h 10008"/>
              <a:gd name="connsiteX2" fmla="*/ 6175 w 10318"/>
              <a:gd name="connsiteY2" fmla="*/ 8864 h 10008"/>
              <a:gd name="connsiteX3" fmla="*/ 6147 w 10318"/>
              <a:gd name="connsiteY3" fmla="*/ 8795 h 10008"/>
              <a:gd name="connsiteX4" fmla="*/ 6063 w 10318"/>
              <a:gd name="connsiteY4" fmla="*/ 8170 h 10008"/>
              <a:gd name="connsiteX5" fmla="*/ 6038 w 10318"/>
              <a:gd name="connsiteY5" fmla="*/ 7225 h 10008"/>
              <a:gd name="connsiteX6" fmla="*/ 6038 w 10318"/>
              <a:gd name="connsiteY6" fmla="*/ 5132 h 10008"/>
              <a:gd name="connsiteX7" fmla="*/ 6038 w 10318"/>
              <a:gd name="connsiteY7" fmla="*/ 4636 h 10008"/>
              <a:gd name="connsiteX8" fmla="*/ 5058 w 10318"/>
              <a:gd name="connsiteY8" fmla="*/ 3130 h 10008"/>
              <a:gd name="connsiteX9" fmla="*/ 4067 w 10318"/>
              <a:gd name="connsiteY9" fmla="*/ 4091 h 10008"/>
              <a:gd name="connsiteX10" fmla="*/ 4059 w 10318"/>
              <a:gd name="connsiteY10" fmla="*/ 4121 h 10008"/>
              <a:gd name="connsiteX11" fmla="*/ 4028 w 10318"/>
              <a:gd name="connsiteY11" fmla="*/ 4388 h 10008"/>
              <a:gd name="connsiteX12" fmla="*/ 3744 w 10318"/>
              <a:gd name="connsiteY12" fmla="*/ 5719 h 10008"/>
              <a:gd name="connsiteX13" fmla="*/ 2461 w 10318"/>
              <a:gd name="connsiteY13" fmla="*/ 6565 h 10008"/>
              <a:gd name="connsiteX14" fmla="*/ 1462 w 10318"/>
              <a:gd name="connsiteY14" fmla="*/ 6054 h 10008"/>
              <a:gd name="connsiteX15" fmla="*/ 1019 w 10318"/>
              <a:gd name="connsiteY15" fmla="*/ 4575 h 10008"/>
              <a:gd name="connsiteX16" fmla="*/ 986 w 10318"/>
              <a:gd name="connsiteY16" fmla="*/ 2848 h 10008"/>
              <a:gd name="connsiteX17" fmla="*/ 991 w 10318"/>
              <a:gd name="connsiteY17" fmla="*/ 2234 h 10008"/>
              <a:gd name="connsiteX18" fmla="*/ 501 w 10318"/>
              <a:gd name="connsiteY18" fmla="*/ 923 h 10008"/>
              <a:gd name="connsiteX19" fmla="*/ 0 w 10318"/>
              <a:gd name="connsiteY19" fmla="*/ 667 h 10008"/>
              <a:gd name="connsiteX20" fmla="*/ 0 w 10318"/>
              <a:gd name="connsiteY20" fmla="*/ 0 h 10008"/>
              <a:gd name="connsiteX21" fmla="*/ 760 w 10318"/>
              <a:gd name="connsiteY21" fmla="*/ 351 h 10008"/>
              <a:gd name="connsiteX22" fmla="*/ 1481 w 10318"/>
              <a:gd name="connsiteY22" fmla="*/ 2234 h 10008"/>
              <a:gd name="connsiteX23" fmla="*/ 1476 w 10318"/>
              <a:gd name="connsiteY23" fmla="*/ 2859 h 10008"/>
              <a:gd name="connsiteX24" fmla="*/ 1812 w 10318"/>
              <a:gd name="connsiteY24" fmla="*/ 5585 h 10008"/>
              <a:gd name="connsiteX25" fmla="*/ 2461 w 10318"/>
              <a:gd name="connsiteY25" fmla="*/ 5894 h 10008"/>
              <a:gd name="connsiteX26" fmla="*/ 3330 w 10318"/>
              <a:gd name="connsiteY26" fmla="*/ 5360 h 10008"/>
              <a:gd name="connsiteX27" fmla="*/ 3541 w 10318"/>
              <a:gd name="connsiteY27" fmla="*/ 4308 h 10008"/>
              <a:gd name="connsiteX28" fmla="*/ 3611 w 10318"/>
              <a:gd name="connsiteY28" fmla="*/ 3843 h 10008"/>
              <a:gd name="connsiteX29" fmla="*/ 3622 w 10318"/>
              <a:gd name="connsiteY29" fmla="*/ 3816 h 10008"/>
              <a:gd name="connsiteX30" fmla="*/ 4017 w 10318"/>
              <a:gd name="connsiteY30" fmla="*/ 2993 h 10008"/>
              <a:gd name="connsiteX31" fmla="*/ 5058 w 10318"/>
              <a:gd name="connsiteY31" fmla="*/ 2459 h 10008"/>
              <a:gd name="connsiteX32" fmla="*/ 6189 w 10318"/>
              <a:gd name="connsiteY32" fmla="*/ 3229 h 10008"/>
              <a:gd name="connsiteX33" fmla="*/ 6528 w 10318"/>
              <a:gd name="connsiteY33" fmla="*/ 4636 h 10008"/>
              <a:gd name="connsiteX34" fmla="*/ 6528 w 10318"/>
              <a:gd name="connsiteY34" fmla="*/ 5135 h 10008"/>
              <a:gd name="connsiteX35" fmla="*/ 6528 w 10318"/>
              <a:gd name="connsiteY35" fmla="*/ 7129 h 10008"/>
              <a:gd name="connsiteX36" fmla="*/ 6579 w 10318"/>
              <a:gd name="connsiteY36" fmla="*/ 8479 h 10008"/>
              <a:gd name="connsiteX37" fmla="*/ 6606 w 10318"/>
              <a:gd name="connsiteY37" fmla="*/ 8540 h 10008"/>
              <a:gd name="connsiteX38" fmla="*/ 7589 w 10318"/>
              <a:gd name="connsiteY38" fmla="*/ 9329 h 10008"/>
              <a:gd name="connsiteX39" fmla="*/ 10318 w 10318"/>
              <a:gd name="connsiteY39" fmla="*/ 9345 h 10008"/>
              <a:gd name="connsiteX40" fmla="*/ 10306 w 10318"/>
              <a:gd name="connsiteY40" fmla="*/ 10008 h 100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0318" h="10008">
                <a:moveTo>
                  <a:pt x="10306" y="10008"/>
                </a:moveTo>
                <a:lnTo>
                  <a:pt x="7522" y="10000"/>
                </a:lnTo>
                <a:cubicBezTo>
                  <a:pt x="6626" y="10006"/>
                  <a:pt x="6311" y="9203"/>
                  <a:pt x="6175" y="8864"/>
                </a:cubicBezTo>
                <a:cubicBezTo>
                  <a:pt x="6164" y="8837"/>
                  <a:pt x="6155" y="8814"/>
                  <a:pt x="6147" y="8795"/>
                </a:cubicBezTo>
                <a:cubicBezTo>
                  <a:pt x="6108" y="8704"/>
                  <a:pt x="6083" y="8570"/>
                  <a:pt x="6063" y="8170"/>
                </a:cubicBezTo>
                <a:cubicBezTo>
                  <a:pt x="6052" y="7934"/>
                  <a:pt x="6044" y="7617"/>
                  <a:pt x="6038" y="7225"/>
                </a:cubicBezTo>
                <a:cubicBezTo>
                  <a:pt x="6030" y="6515"/>
                  <a:pt x="6036" y="5684"/>
                  <a:pt x="6038" y="5132"/>
                </a:cubicBezTo>
                <a:lnTo>
                  <a:pt x="6038" y="4636"/>
                </a:lnTo>
                <a:cubicBezTo>
                  <a:pt x="6038" y="4053"/>
                  <a:pt x="5774" y="3130"/>
                  <a:pt x="5058" y="3130"/>
                </a:cubicBezTo>
                <a:cubicBezTo>
                  <a:pt x="4388" y="3130"/>
                  <a:pt x="4187" y="3732"/>
                  <a:pt x="4067" y="4091"/>
                </a:cubicBezTo>
                <a:cubicBezTo>
                  <a:pt x="4064" y="4101"/>
                  <a:pt x="4062" y="4111"/>
                  <a:pt x="4059" y="4121"/>
                </a:cubicBezTo>
                <a:cubicBezTo>
                  <a:pt x="4048" y="4159"/>
                  <a:pt x="4037" y="4293"/>
                  <a:pt x="4028" y="4388"/>
                </a:cubicBezTo>
                <a:cubicBezTo>
                  <a:pt x="3998" y="4739"/>
                  <a:pt x="3953" y="5265"/>
                  <a:pt x="3744" y="5719"/>
                </a:cubicBezTo>
                <a:cubicBezTo>
                  <a:pt x="3486" y="6283"/>
                  <a:pt x="3054" y="6565"/>
                  <a:pt x="2461" y="6565"/>
                </a:cubicBezTo>
                <a:cubicBezTo>
                  <a:pt x="2041" y="6565"/>
                  <a:pt x="1707" y="6393"/>
                  <a:pt x="1462" y="6054"/>
                </a:cubicBezTo>
                <a:cubicBezTo>
                  <a:pt x="1228" y="5726"/>
                  <a:pt x="1080" y="5242"/>
                  <a:pt x="1019" y="4575"/>
                </a:cubicBezTo>
                <a:cubicBezTo>
                  <a:pt x="969" y="4026"/>
                  <a:pt x="977" y="3427"/>
                  <a:pt x="986" y="2848"/>
                </a:cubicBezTo>
                <a:cubicBezTo>
                  <a:pt x="988" y="2634"/>
                  <a:pt x="991" y="2432"/>
                  <a:pt x="991" y="2234"/>
                </a:cubicBezTo>
                <a:cubicBezTo>
                  <a:pt x="991" y="1643"/>
                  <a:pt x="827" y="1201"/>
                  <a:pt x="501" y="923"/>
                </a:cubicBezTo>
                <a:cubicBezTo>
                  <a:pt x="253" y="709"/>
                  <a:pt x="3" y="667"/>
                  <a:pt x="0" y="667"/>
                </a:cubicBezTo>
                <a:lnTo>
                  <a:pt x="0" y="0"/>
                </a:lnTo>
                <a:cubicBezTo>
                  <a:pt x="14" y="4"/>
                  <a:pt x="415" y="53"/>
                  <a:pt x="760" y="351"/>
                </a:cubicBezTo>
                <a:cubicBezTo>
                  <a:pt x="1089" y="633"/>
                  <a:pt x="1481" y="1189"/>
                  <a:pt x="1481" y="2234"/>
                </a:cubicBezTo>
                <a:cubicBezTo>
                  <a:pt x="1481" y="2440"/>
                  <a:pt x="1478" y="2653"/>
                  <a:pt x="1476" y="2859"/>
                </a:cubicBezTo>
                <a:cubicBezTo>
                  <a:pt x="1459" y="3896"/>
                  <a:pt x="1442" y="5071"/>
                  <a:pt x="1812" y="5585"/>
                </a:cubicBezTo>
                <a:cubicBezTo>
                  <a:pt x="1963" y="5795"/>
                  <a:pt x="2174" y="5894"/>
                  <a:pt x="2461" y="5894"/>
                </a:cubicBezTo>
                <a:cubicBezTo>
                  <a:pt x="2879" y="5894"/>
                  <a:pt x="3163" y="5719"/>
                  <a:pt x="3330" y="5360"/>
                </a:cubicBezTo>
                <a:cubicBezTo>
                  <a:pt x="3480" y="5036"/>
                  <a:pt x="3516" y="4617"/>
                  <a:pt x="3541" y="4308"/>
                </a:cubicBezTo>
                <a:cubicBezTo>
                  <a:pt x="3561" y="4110"/>
                  <a:pt x="3572" y="3961"/>
                  <a:pt x="3611" y="3843"/>
                </a:cubicBezTo>
                <a:cubicBezTo>
                  <a:pt x="3615" y="3834"/>
                  <a:pt x="3618" y="3825"/>
                  <a:pt x="3622" y="3816"/>
                </a:cubicBezTo>
                <a:cubicBezTo>
                  <a:pt x="3689" y="3614"/>
                  <a:pt x="3797" y="3283"/>
                  <a:pt x="4017" y="2993"/>
                </a:cubicBezTo>
                <a:cubicBezTo>
                  <a:pt x="4285" y="2638"/>
                  <a:pt x="4635" y="2459"/>
                  <a:pt x="5058" y="2459"/>
                </a:cubicBezTo>
                <a:cubicBezTo>
                  <a:pt x="5646" y="2459"/>
                  <a:pt x="5997" y="2878"/>
                  <a:pt x="6189" y="3229"/>
                </a:cubicBezTo>
                <a:cubicBezTo>
                  <a:pt x="6403" y="3618"/>
                  <a:pt x="6528" y="4144"/>
                  <a:pt x="6528" y="4636"/>
                </a:cubicBezTo>
                <a:lnTo>
                  <a:pt x="6528" y="5135"/>
                </a:lnTo>
                <a:cubicBezTo>
                  <a:pt x="6526" y="5692"/>
                  <a:pt x="6520" y="6447"/>
                  <a:pt x="6528" y="7129"/>
                </a:cubicBezTo>
                <a:cubicBezTo>
                  <a:pt x="6537" y="8147"/>
                  <a:pt x="6567" y="8410"/>
                  <a:pt x="6579" y="8479"/>
                </a:cubicBezTo>
                <a:cubicBezTo>
                  <a:pt x="6587" y="8498"/>
                  <a:pt x="6595" y="8521"/>
                  <a:pt x="6606" y="8540"/>
                </a:cubicBezTo>
                <a:cubicBezTo>
                  <a:pt x="6723" y="8837"/>
                  <a:pt x="6988" y="9329"/>
                  <a:pt x="7589" y="9329"/>
                </a:cubicBezTo>
                <a:lnTo>
                  <a:pt x="10318" y="9345"/>
                </a:lnTo>
                <a:lnTo>
                  <a:pt x="10306" y="1000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" name="Freeform 74"/>
          <p:cNvSpPr>
            <a:spLocks/>
          </p:cNvSpPr>
          <p:nvPr/>
        </p:nvSpPr>
        <p:spPr bwMode="auto">
          <a:xfrm>
            <a:off x="93663" y="804863"/>
            <a:ext cx="80963" cy="77788"/>
          </a:xfrm>
          <a:custGeom>
            <a:avLst/>
            <a:gdLst>
              <a:gd name="T0" fmla="*/ 30 w 37"/>
              <a:gd name="T1" fmla="*/ 35 h 35"/>
              <a:gd name="T2" fmla="*/ 0 w 37"/>
              <a:gd name="T3" fmla="*/ 28 h 35"/>
              <a:gd name="T4" fmla="*/ 5 w 37"/>
              <a:gd name="T5" fmla="*/ 0 h 35"/>
              <a:gd name="T6" fmla="*/ 37 w 37"/>
              <a:gd name="T7" fmla="*/ 7 h 35"/>
              <a:gd name="T8" fmla="*/ 30 w 37"/>
              <a:gd name="T9" fmla="*/ 35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" h="35">
                <a:moveTo>
                  <a:pt x="30" y="35"/>
                </a:moveTo>
                <a:cubicBezTo>
                  <a:pt x="20" y="32"/>
                  <a:pt x="10" y="30"/>
                  <a:pt x="0" y="28"/>
                </a:cubicBezTo>
                <a:cubicBezTo>
                  <a:pt x="5" y="0"/>
                  <a:pt x="5" y="0"/>
                  <a:pt x="5" y="0"/>
                </a:cubicBezTo>
                <a:cubicBezTo>
                  <a:pt x="16" y="2"/>
                  <a:pt x="27" y="4"/>
                  <a:pt x="37" y="7"/>
                </a:cubicBezTo>
                <a:lnTo>
                  <a:pt x="30" y="3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" name="Freeform 75"/>
          <p:cNvSpPr>
            <a:spLocks noEditPoints="1"/>
          </p:cNvSpPr>
          <p:nvPr/>
        </p:nvSpPr>
        <p:spPr bwMode="auto">
          <a:xfrm>
            <a:off x="290513" y="862013"/>
            <a:ext cx="7112000" cy="5376863"/>
          </a:xfrm>
          <a:custGeom>
            <a:avLst/>
            <a:gdLst>
              <a:gd name="T0" fmla="*/ 2546 w 3215"/>
              <a:gd name="T1" fmla="*/ 2401 h 2429"/>
              <a:gd name="T2" fmla="*/ 3215 w 3215"/>
              <a:gd name="T3" fmla="*/ 2429 h 2429"/>
              <a:gd name="T4" fmla="*/ 3088 w 3215"/>
              <a:gd name="T5" fmla="*/ 2429 h 2429"/>
              <a:gd name="T6" fmla="*/ 2961 w 3215"/>
              <a:gd name="T7" fmla="*/ 2429 h 2429"/>
              <a:gd name="T8" fmla="*/ 2834 w 3215"/>
              <a:gd name="T9" fmla="*/ 2429 h 2429"/>
              <a:gd name="T10" fmla="*/ 2707 w 3215"/>
              <a:gd name="T11" fmla="*/ 2429 h 2429"/>
              <a:gd name="T12" fmla="*/ 2452 w 3215"/>
              <a:gd name="T13" fmla="*/ 2421 h 2429"/>
              <a:gd name="T14" fmla="*/ 2329 w 3215"/>
              <a:gd name="T15" fmla="*/ 2376 h 2429"/>
              <a:gd name="T16" fmla="*/ 2229 w 3215"/>
              <a:gd name="T17" fmla="*/ 2291 h 2429"/>
              <a:gd name="T18" fmla="*/ 2163 w 3215"/>
              <a:gd name="T19" fmla="*/ 2178 h 2429"/>
              <a:gd name="T20" fmla="*/ 2125 w 3215"/>
              <a:gd name="T21" fmla="*/ 2054 h 2429"/>
              <a:gd name="T22" fmla="*/ 2111 w 3215"/>
              <a:gd name="T23" fmla="*/ 1925 h 2429"/>
              <a:gd name="T24" fmla="*/ 2140 w 3215"/>
              <a:gd name="T25" fmla="*/ 1910 h 2429"/>
              <a:gd name="T26" fmla="*/ 2111 w 3215"/>
              <a:gd name="T27" fmla="*/ 1798 h 2429"/>
              <a:gd name="T28" fmla="*/ 2111 w 3215"/>
              <a:gd name="T29" fmla="*/ 1671 h 2429"/>
              <a:gd name="T30" fmla="*/ 2111 w 3215"/>
              <a:gd name="T31" fmla="*/ 1544 h 2429"/>
              <a:gd name="T32" fmla="*/ 758 w 3215"/>
              <a:gd name="T33" fmla="*/ 1509 h 2429"/>
              <a:gd name="T34" fmla="*/ 630 w 3215"/>
              <a:gd name="T35" fmla="*/ 1525 h 2429"/>
              <a:gd name="T36" fmla="*/ 880 w 3215"/>
              <a:gd name="T37" fmla="*/ 1491 h 2429"/>
              <a:gd name="T38" fmla="*/ 509 w 3215"/>
              <a:gd name="T39" fmla="*/ 1475 h 2429"/>
              <a:gd name="T40" fmla="*/ 992 w 3215"/>
              <a:gd name="T41" fmla="*/ 1443 h 2429"/>
              <a:gd name="T42" fmla="*/ 411 w 3215"/>
              <a:gd name="T43" fmla="*/ 1388 h 2429"/>
              <a:gd name="T44" fmla="*/ 2111 w 3215"/>
              <a:gd name="T45" fmla="*/ 1417 h 2429"/>
              <a:gd name="T46" fmla="*/ 1085 w 3215"/>
              <a:gd name="T47" fmla="*/ 1363 h 2429"/>
              <a:gd name="T48" fmla="*/ 345 w 3215"/>
              <a:gd name="T49" fmla="*/ 1276 h 2429"/>
              <a:gd name="T50" fmla="*/ 2111 w 3215"/>
              <a:gd name="T51" fmla="*/ 1290 h 2429"/>
              <a:gd name="T52" fmla="*/ 1155 w 3215"/>
              <a:gd name="T53" fmla="*/ 1261 h 2429"/>
              <a:gd name="T54" fmla="*/ 306 w 3215"/>
              <a:gd name="T55" fmla="*/ 1152 h 2429"/>
              <a:gd name="T56" fmla="*/ 2111 w 3215"/>
              <a:gd name="T57" fmla="*/ 1163 h 2429"/>
              <a:gd name="T58" fmla="*/ 1198 w 3215"/>
              <a:gd name="T59" fmla="*/ 1146 h 2429"/>
              <a:gd name="T60" fmla="*/ 1228 w 3215"/>
              <a:gd name="T61" fmla="*/ 1134 h 2429"/>
              <a:gd name="T62" fmla="*/ 328 w 3215"/>
              <a:gd name="T63" fmla="*/ 1086 h 2429"/>
              <a:gd name="T64" fmla="*/ 2109 w 3215"/>
              <a:gd name="T65" fmla="*/ 1038 h 2429"/>
              <a:gd name="T66" fmla="*/ 1239 w 3215"/>
              <a:gd name="T67" fmla="*/ 1025 h 2429"/>
              <a:gd name="T68" fmla="*/ 328 w 3215"/>
              <a:gd name="T69" fmla="*/ 959 h 2429"/>
              <a:gd name="T70" fmla="*/ 2080 w 3215"/>
              <a:gd name="T71" fmla="*/ 918 h 2429"/>
              <a:gd name="T72" fmla="*/ 1272 w 3215"/>
              <a:gd name="T73" fmla="*/ 906 h 2429"/>
              <a:gd name="T74" fmla="*/ 328 w 3215"/>
              <a:gd name="T75" fmla="*/ 832 h 2429"/>
              <a:gd name="T76" fmla="*/ 2024 w 3215"/>
              <a:gd name="T77" fmla="*/ 808 h 2429"/>
              <a:gd name="T78" fmla="*/ 1331 w 3215"/>
              <a:gd name="T79" fmla="*/ 798 h 2429"/>
              <a:gd name="T80" fmla="*/ 1939 w 3215"/>
              <a:gd name="T81" fmla="*/ 720 h 2429"/>
              <a:gd name="T82" fmla="*/ 1418 w 3215"/>
              <a:gd name="T83" fmla="*/ 713 h 2429"/>
              <a:gd name="T84" fmla="*/ 328 w 3215"/>
              <a:gd name="T85" fmla="*/ 705 h 2429"/>
              <a:gd name="T86" fmla="*/ 1831 w 3215"/>
              <a:gd name="T87" fmla="*/ 664 h 2429"/>
              <a:gd name="T88" fmla="*/ 1528 w 3215"/>
              <a:gd name="T89" fmla="*/ 660 h 2429"/>
              <a:gd name="T90" fmla="*/ 1711 w 3215"/>
              <a:gd name="T91" fmla="*/ 641 h 2429"/>
              <a:gd name="T92" fmla="*/ 1713 w 3215"/>
              <a:gd name="T93" fmla="*/ 613 h 2429"/>
              <a:gd name="T94" fmla="*/ 328 w 3215"/>
              <a:gd name="T95" fmla="*/ 515 h 2429"/>
              <a:gd name="T96" fmla="*/ 295 w 3215"/>
              <a:gd name="T97" fmla="*/ 390 h 2429"/>
              <a:gd name="T98" fmla="*/ 262 w 3215"/>
              <a:gd name="T99" fmla="*/ 271 h 2429"/>
              <a:gd name="T100" fmla="*/ 199 w 3215"/>
              <a:gd name="T101" fmla="*/ 166 h 2429"/>
              <a:gd name="T102" fmla="*/ 110 w 3215"/>
              <a:gd name="T103" fmla="*/ 82 h 2429"/>
              <a:gd name="T104" fmla="*/ 0 w 3215"/>
              <a:gd name="T105" fmla="*/ 26 h 2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215" h="2429">
                <a:moveTo>
                  <a:pt x="2546" y="2429"/>
                </a:moveTo>
                <a:cubicBezTo>
                  <a:pt x="2536" y="2429"/>
                  <a:pt x="2526" y="2429"/>
                  <a:pt x="2516" y="2429"/>
                </a:cubicBezTo>
                <a:cubicBezTo>
                  <a:pt x="2518" y="2400"/>
                  <a:pt x="2518" y="2400"/>
                  <a:pt x="2518" y="2400"/>
                </a:cubicBezTo>
                <a:cubicBezTo>
                  <a:pt x="2527" y="2401"/>
                  <a:pt x="2537" y="2401"/>
                  <a:pt x="2546" y="2401"/>
                </a:cubicBezTo>
                <a:cubicBezTo>
                  <a:pt x="2546" y="2401"/>
                  <a:pt x="2546" y="2401"/>
                  <a:pt x="2546" y="2401"/>
                </a:cubicBezTo>
                <a:cubicBezTo>
                  <a:pt x="2581" y="2401"/>
                  <a:pt x="2581" y="2401"/>
                  <a:pt x="2581" y="2401"/>
                </a:cubicBezTo>
                <a:cubicBezTo>
                  <a:pt x="2581" y="2429"/>
                  <a:pt x="2581" y="2429"/>
                  <a:pt x="2581" y="2429"/>
                </a:cubicBezTo>
                <a:cubicBezTo>
                  <a:pt x="2546" y="2429"/>
                  <a:pt x="2546" y="2429"/>
                  <a:pt x="2546" y="2429"/>
                </a:cubicBezTo>
                <a:cubicBezTo>
                  <a:pt x="2546" y="2429"/>
                  <a:pt x="2546" y="2429"/>
                  <a:pt x="2546" y="2429"/>
                </a:cubicBezTo>
                <a:close/>
                <a:moveTo>
                  <a:pt x="3215" y="2429"/>
                </a:moveTo>
                <a:cubicBezTo>
                  <a:pt x="3152" y="2429"/>
                  <a:pt x="3152" y="2429"/>
                  <a:pt x="3152" y="2429"/>
                </a:cubicBezTo>
                <a:cubicBezTo>
                  <a:pt x="3152" y="2401"/>
                  <a:pt x="3152" y="2401"/>
                  <a:pt x="3152" y="2401"/>
                </a:cubicBezTo>
                <a:cubicBezTo>
                  <a:pt x="3215" y="2401"/>
                  <a:pt x="3215" y="2401"/>
                  <a:pt x="3215" y="2401"/>
                </a:cubicBezTo>
                <a:lnTo>
                  <a:pt x="3215" y="2429"/>
                </a:lnTo>
                <a:close/>
                <a:moveTo>
                  <a:pt x="3088" y="2429"/>
                </a:moveTo>
                <a:cubicBezTo>
                  <a:pt x="3025" y="2429"/>
                  <a:pt x="3025" y="2429"/>
                  <a:pt x="3025" y="2429"/>
                </a:cubicBezTo>
                <a:cubicBezTo>
                  <a:pt x="3025" y="2401"/>
                  <a:pt x="3025" y="2401"/>
                  <a:pt x="3025" y="2401"/>
                </a:cubicBezTo>
                <a:cubicBezTo>
                  <a:pt x="3088" y="2401"/>
                  <a:pt x="3088" y="2401"/>
                  <a:pt x="3088" y="2401"/>
                </a:cubicBezTo>
                <a:lnTo>
                  <a:pt x="3088" y="2429"/>
                </a:lnTo>
                <a:close/>
                <a:moveTo>
                  <a:pt x="2961" y="2429"/>
                </a:moveTo>
                <a:cubicBezTo>
                  <a:pt x="2898" y="2429"/>
                  <a:pt x="2898" y="2429"/>
                  <a:pt x="2898" y="2429"/>
                </a:cubicBezTo>
                <a:cubicBezTo>
                  <a:pt x="2898" y="2401"/>
                  <a:pt x="2898" y="2401"/>
                  <a:pt x="2898" y="2401"/>
                </a:cubicBezTo>
                <a:cubicBezTo>
                  <a:pt x="2961" y="2401"/>
                  <a:pt x="2961" y="2401"/>
                  <a:pt x="2961" y="2401"/>
                </a:cubicBezTo>
                <a:lnTo>
                  <a:pt x="2961" y="2429"/>
                </a:lnTo>
                <a:close/>
                <a:moveTo>
                  <a:pt x="2834" y="2429"/>
                </a:moveTo>
                <a:cubicBezTo>
                  <a:pt x="2771" y="2429"/>
                  <a:pt x="2771" y="2429"/>
                  <a:pt x="2771" y="2429"/>
                </a:cubicBezTo>
                <a:cubicBezTo>
                  <a:pt x="2771" y="2401"/>
                  <a:pt x="2771" y="2401"/>
                  <a:pt x="2771" y="2401"/>
                </a:cubicBezTo>
                <a:cubicBezTo>
                  <a:pt x="2834" y="2401"/>
                  <a:pt x="2834" y="2401"/>
                  <a:pt x="2834" y="2401"/>
                </a:cubicBezTo>
                <a:lnTo>
                  <a:pt x="2834" y="2429"/>
                </a:lnTo>
                <a:close/>
                <a:moveTo>
                  <a:pt x="2707" y="2429"/>
                </a:moveTo>
                <a:cubicBezTo>
                  <a:pt x="2644" y="2429"/>
                  <a:pt x="2644" y="2429"/>
                  <a:pt x="2644" y="2429"/>
                </a:cubicBezTo>
                <a:cubicBezTo>
                  <a:pt x="2644" y="2401"/>
                  <a:pt x="2644" y="2401"/>
                  <a:pt x="2644" y="2401"/>
                </a:cubicBezTo>
                <a:cubicBezTo>
                  <a:pt x="2707" y="2401"/>
                  <a:pt x="2707" y="2401"/>
                  <a:pt x="2707" y="2401"/>
                </a:cubicBezTo>
                <a:lnTo>
                  <a:pt x="2707" y="2429"/>
                </a:lnTo>
                <a:close/>
                <a:moveTo>
                  <a:pt x="2452" y="2421"/>
                </a:moveTo>
                <a:cubicBezTo>
                  <a:pt x="2430" y="2417"/>
                  <a:pt x="2408" y="2411"/>
                  <a:pt x="2388" y="2404"/>
                </a:cubicBezTo>
                <a:cubicBezTo>
                  <a:pt x="2398" y="2377"/>
                  <a:pt x="2398" y="2377"/>
                  <a:pt x="2398" y="2377"/>
                </a:cubicBezTo>
                <a:cubicBezTo>
                  <a:pt x="2417" y="2384"/>
                  <a:pt x="2436" y="2389"/>
                  <a:pt x="2457" y="2393"/>
                </a:cubicBezTo>
                <a:lnTo>
                  <a:pt x="2452" y="2421"/>
                </a:lnTo>
                <a:close/>
                <a:moveTo>
                  <a:pt x="2329" y="2376"/>
                </a:moveTo>
                <a:cubicBezTo>
                  <a:pt x="2310" y="2365"/>
                  <a:pt x="2292" y="2352"/>
                  <a:pt x="2275" y="2338"/>
                </a:cubicBezTo>
                <a:cubicBezTo>
                  <a:pt x="2294" y="2316"/>
                  <a:pt x="2294" y="2316"/>
                  <a:pt x="2294" y="2316"/>
                </a:cubicBezTo>
                <a:cubicBezTo>
                  <a:pt x="2309" y="2330"/>
                  <a:pt x="2326" y="2341"/>
                  <a:pt x="2343" y="2351"/>
                </a:cubicBezTo>
                <a:lnTo>
                  <a:pt x="2329" y="2376"/>
                </a:lnTo>
                <a:close/>
                <a:moveTo>
                  <a:pt x="2229" y="2291"/>
                </a:moveTo>
                <a:cubicBezTo>
                  <a:pt x="2216" y="2274"/>
                  <a:pt x="2203" y="2256"/>
                  <a:pt x="2192" y="2237"/>
                </a:cubicBezTo>
                <a:cubicBezTo>
                  <a:pt x="2216" y="2222"/>
                  <a:pt x="2216" y="2222"/>
                  <a:pt x="2216" y="2222"/>
                </a:cubicBezTo>
                <a:cubicBezTo>
                  <a:pt x="2227" y="2240"/>
                  <a:pt x="2239" y="2257"/>
                  <a:pt x="2251" y="2273"/>
                </a:cubicBezTo>
                <a:lnTo>
                  <a:pt x="2229" y="2291"/>
                </a:lnTo>
                <a:close/>
                <a:moveTo>
                  <a:pt x="2163" y="2178"/>
                </a:moveTo>
                <a:cubicBezTo>
                  <a:pt x="2154" y="2159"/>
                  <a:pt x="2147" y="2138"/>
                  <a:pt x="2141" y="2117"/>
                </a:cubicBezTo>
                <a:cubicBezTo>
                  <a:pt x="2168" y="2109"/>
                  <a:pt x="2168" y="2109"/>
                  <a:pt x="2168" y="2109"/>
                </a:cubicBezTo>
                <a:cubicBezTo>
                  <a:pt x="2174" y="2129"/>
                  <a:pt x="2181" y="2149"/>
                  <a:pt x="2189" y="2167"/>
                </a:cubicBezTo>
                <a:lnTo>
                  <a:pt x="2163" y="2178"/>
                </a:lnTo>
                <a:close/>
                <a:moveTo>
                  <a:pt x="2125" y="2054"/>
                </a:moveTo>
                <a:cubicBezTo>
                  <a:pt x="2121" y="2033"/>
                  <a:pt x="2118" y="2012"/>
                  <a:pt x="2115" y="1990"/>
                </a:cubicBezTo>
                <a:cubicBezTo>
                  <a:pt x="2144" y="1987"/>
                  <a:pt x="2144" y="1987"/>
                  <a:pt x="2144" y="1987"/>
                </a:cubicBezTo>
                <a:cubicBezTo>
                  <a:pt x="2146" y="2008"/>
                  <a:pt x="2149" y="2029"/>
                  <a:pt x="2153" y="2049"/>
                </a:cubicBezTo>
                <a:lnTo>
                  <a:pt x="2125" y="2054"/>
                </a:lnTo>
                <a:close/>
                <a:moveTo>
                  <a:pt x="2111" y="1925"/>
                </a:moveTo>
                <a:cubicBezTo>
                  <a:pt x="2111" y="1922"/>
                  <a:pt x="2111" y="1920"/>
                  <a:pt x="2111" y="1918"/>
                </a:cubicBezTo>
                <a:cubicBezTo>
                  <a:pt x="2111" y="1913"/>
                  <a:pt x="2111" y="1910"/>
                  <a:pt x="2111" y="1909"/>
                </a:cubicBezTo>
                <a:cubicBezTo>
                  <a:pt x="2111" y="1862"/>
                  <a:pt x="2111" y="1862"/>
                  <a:pt x="2111" y="1862"/>
                </a:cubicBezTo>
                <a:cubicBezTo>
                  <a:pt x="2140" y="1862"/>
                  <a:pt x="2140" y="1862"/>
                  <a:pt x="2140" y="1862"/>
                </a:cubicBezTo>
                <a:cubicBezTo>
                  <a:pt x="2140" y="1910"/>
                  <a:pt x="2140" y="1910"/>
                  <a:pt x="2140" y="1910"/>
                </a:cubicBezTo>
                <a:cubicBezTo>
                  <a:pt x="2140" y="1910"/>
                  <a:pt x="2140" y="1913"/>
                  <a:pt x="2140" y="1918"/>
                </a:cubicBezTo>
                <a:cubicBezTo>
                  <a:pt x="2140" y="1920"/>
                  <a:pt x="2140" y="1922"/>
                  <a:pt x="2140" y="1925"/>
                </a:cubicBezTo>
                <a:lnTo>
                  <a:pt x="2111" y="1925"/>
                </a:lnTo>
                <a:close/>
                <a:moveTo>
                  <a:pt x="2140" y="1798"/>
                </a:moveTo>
                <a:cubicBezTo>
                  <a:pt x="2111" y="1798"/>
                  <a:pt x="2111" y="1798"/>
                  <a:pt x="2111" y="1798"/>
                </a:cubicBezTo>
                <a:cubicBezTo>
                  <a:pt x="2111" y="1735"/>
                  <a:pt x="2111" y="1735"/>
                  <a:pt x="2111" y="1735"/>
                </a:cubicBezTo>
                <a:cubicBezTo>
                  <a:pt x="2140" y="1735"/>
                  <a:pt x="2140" y="1735"/>
                  <a:pt x="2140" y="1735"/>
                </a:cubicBezTo>
                <a:lnTo>
                  <a:pt x="2140" y="1798"/>
                </a:lnTo>
                <a:close/>
                <a:moveTo>
                  <a:pt x="2140" y="1671"/>
                </a:moveTo>
                <a:cubicBezTo>
                  <a:pt x="2111" y="1671"/>
                  <a:pt x="2111" y="1671"/>
                  <a:pt x="2111" y="1671"/>
                </a:cubicBezTo>
                <a:cubicBezTo>
                  <a:pt x="2111" y="1608"/>
                  <a:pt x="2111" y="1608"/>
                  <a:pt x="2111" y="1608"/>
                </a:cubicBezTo>
                <a:cubicBezTo>
                  <a:pt x="2140" y="1608"/>
                  <a:pt x="2140" y="1608"/>
                  <a:pt x="2140" y="1608"/>
                </a:cubicBezTo>
                <a:lnTo>
                  <a:pt x="2140" y="1671"/>
                </a:lnTo>
                <a:close/>
                <a:moveTo>
                  <a:pt x="2140" y="1544"/>
                </a:moveTo>
                <a:cubicBezTo>
                  <a:pt x="2111" y="1544"/>
                  <a:pt x="2111" y="1544"/>
                  <a:pt x="2111" y="1544"/>
                </a:cubicBezTo>
                <a:cubicBezTo>
                  <a:pt x="2111" y="1481"/>
                  <a:pt x="2111" y="1481"/>
                  <a:pt x="2111" y="1481"/>
                </a:cubicBezTo>
                <a:cubicBezTo>
                  <a:pt x="2140" y="1481"/>
                  <a:pt x="2140" y="1481"/>
                  <a:pt x="2140" y="1481"/>
                </a:cubicBezTo>
                <a:lnTo>
                  <a:pt x="2140" y="1544"/>
                </a:lnTo>
                <a:close/>
                <a:moveTo>
                  <a:pt x="759" y="1537"/>
                </a:moveTo>
                <a:cubicBezTo>
                  <a:pt x="758" y="1509"/>
                  <a:pt x="758" y="1509"/>
                  <a:pt x="758" y="1509"/>
                </a:cubicBezTo>
                <a:cubicBezTo>
                  <a:pt x="779" y="1508"/>
                  <a:pt x="800" y="1506"/>
                  <a:pt x="820" y="1504"/>
                </a:cubicBezTo>
                <a:cubicBezTo>
                  <a:pt x="824" y="1532"/>
                  <a:pt x="824" y="1532"/>
                  <a:pt x="824" y="1532"/>
                </a:cubicBezTo>
                <a:cubicBezTo>
                  <a:pt x="803" y="1535"/>
                  <a:pt x="781" y="1537"/>
                  <a:pt x="759" y="1537"/>
                </a:cubicBezTo>
                <a:close/>
                <a:moveTo>
                  <a:pt x="694" y="1535"/>
                </a:moveTo>
                <a:cubicBezTo>
                  <a:pt x="672" y="1533"/>
                  <a:pt x="650" y="1530"/>
                  <a:pt x="630" y="1525"/>
                </a:cubicBezTo>
                <a:cubicBezTo>
                  <a:pt x="636" y="1497"/>
                  <a:pt x="636" y="1497"/>
                  <a:pt x="636" y="1497"/>
                </a:cubicBezTo>
                <a:cubicBezTo>
                  <a:pt x="655" y="1502"/>
                  <a:pt x="676" y="1505"/>
                  <a:pt x="697" y="1507"/>
                </a:cubicBezTo>
                <a:lnTo>
                  <a:pt x="694" y="1535"/>
                </a:lnTo>
                <a:close/>
                <a:moveTo>
                  <a:pt x="888" y="1519"/>
                </a:moveTo>
                <a:cubicBezTo>
                  <a:pt x="880" y="1491"/>
                  <a:pt x="880" y="1491"/>
                  <a:pt x="880" y="1491"/>
                </a:cubicBezTo>
                <a:cubicBezTo>
                  <a:pt x="900" y="1486"/>
                  <a:pt x="920" y="1479"/>
                  <a:pt x="938" y="1471"/>
                </a:cubicBezTo>
                <a:cubicBezTo>
                  <a:pt x="949" y="1497"/>
                  <a:pt x="949" y="1497"/>
                  <a:pt x="949" y="1497"/>
                </a:cubicBezTo>
                <a:cubicBezTo>
                  <a:pt x="930" y="1506"/>
                  <a:pt x="909" y="1513"/>
                  <a:pt x="888" y="1519"/>
                </a:cubicBezTo>
                <a:close/>
                <a:moveTo>
                  <a:pt x="567" y="1505"/>
                </a:moveTo>
                <a:cubicBezTo>
                  <a:pt x="547" y="1497"/>
                  <a:pt x="527" y="1487"/>
                  <a:pt x="509" y="1475"/>
                </a:cubicBezTo>
                <a:cubicBezTo>
                  <a:pt x="524" y="1451"/>
                  <a:pt x="524" y="1451"/>
                  <a:pt x="524" y="1451"/>
                </a:cubicBezTo>
                <a:cubicBezTo>
                  <a:pt x="541" y="1462"/>
                  <a:pt x="559" y="1471"/>
                  <a:pt x="578" y="1479"/>
                </a:cubicBezTo>
                <a:lnTo>
                  <a:pt x="567" y="1505"/>
                </a:lnTo>
                <a:close/>
                <a:moveTo>
                  <a:pt x="1007" y="1467"/>
                </a:moveTo>
                <a:cubicBezTo>
                  <a:pt x="992" y="1443"/>
                  <a:pt x="992" y="1443"/>
                  <a:pt x="992" y="1443"/>
                </a:cubicBezTo>
                <a:cubicBezTo>
                  <a:pt x="1010" y="1432"/>
                  <a:pt x="1026" y="1420"/>
                  <a:pt x="1042" y="1407"/>
                </a:cubicBezTo>
                <a:cubicBezTo>
                  <a:pt x="1060" y="1428"/>
                  <a:pt x="1060" y="1428"/>
                  <a:pt x="1060" y="1428"/>
                </a:cubicBezTo>
                <a:cubicBezTo>
                  <a:pt x="1044" y="1442"/>
                  <a:pt x="1026" y="1455"/>
                  <a:pt x="1007" y="1467"/>
                </a:cubicBezTo>
                <a:close/>
                <a:moveTo>
                  <a:pt x="456" y="1436"/>
                </a:moveTo>
                <a:cubicBezTo>
                  <a:pt x="440" y="1422"/>
                  <a:pt x="425" y="1405"/>
                  <a:pt x="411" y="1388"/>
                </a:cubicBezTo>
                <a:cubicBezTo>
                  <a:pt x="433" y="1370"/>
                  <a:pt x="433" y="1370"/>
                  <a:pt x="433" y="1370"/>
                </a:cubicBezTo>
                <a:cubicBezTo>
                  <a:pt x="446" y="1386"/>
                  <a:pt x="460" y="1401"/>
                  <a:pt x="475" y="1415"/>
                </a:cubicBezTo>
                <a:lnTo>
                  <a:pt x="456" y="1436"/>
                </a:lnTo>
                <a:close/>
                <a:moveTo>
                  <a:pt x="2140" y="1417"/>
                </a:moveTo>
                <a:cubicBezTo>
                  <a:pt x="2111" y="1417"/>
                  <a:pt x="2111" y="1417"/>
                  <a:pt x="2111" y="1417"/>
                </a:cubicBezTo>
                <a:cubicBezTo>
                  <a:pt x="2111" y="1354"/>
                  <a:pt x="2111" y="1354"/>
                  <a:pt x="2111" y="1354"/>
                </a:cubicBezTo>
                <a:cubicBezTo>
                  <a:pt x="2140" y="1354"/>
                  <a:pt x="2140" y="1354"/>
                  <a:pt x="2140" y="1354"/>
                </a:cubicBezTo>
                <a:lnTo>
                  <a:pt x="2140" y="1417"/>
                </a:lnTo>
                <a:close/>
                <a:moveTo>
                  <a:pt x="1107" y="1382"/>
                </a:moveTo>
                <a:cubicBezTo>
                  <a:pt x="1085" y="1363"/>
                  <a:pt x="1085" y="1363"/>
                  <a:pt x="1085" y="1363"/>
                </a:cubicBezTo>
                <a:cubicBezTo>
                  <a:pt x="1099" y="1348"/>
                  <a:pt x="1112" y="1332"/>
                  <a:pt x="1123" y="1315"/>
                </a:cubicBezTo>
                <a:cubicBezTo>
                  <a:pt x="1147" y="1331"/>
                  <a:pt x="1147" y="1331"/>
                  <a:pt x="1147" y="1331"/>
                </a:cubicBezTo>
                <a:cubicBezTo>
                  <a:pt x="1134" y="1349"/>
                  <a:pt x="1121" y="1366"/>
                  <a:pt x="1107" y="1382"/>
                </a:cubicBezTo>
                <a:close/>
                <a:moveTo>
                  <a:pt x="374" y="1334"/>
                </a:moveTo>
                <a:cubicBezTo>
                  <a:pt x="363" y="1316"/>
                  <a:pt x="353" y="1296"/>
                  <a:pt x="345" y="1276"/>
                </a:cubicBezTo>
                <a:cubicBezTo>
                  <a:pt x="371" y="1265"/>
                  <a:pt x="371" y="1265"/>
                  <a:pt x="371" y="1265"/>
                </a:cubicBezTo>
                <a:cubicBezTo>
                  <a:pt x="379" y="1284"/>
                  <a:pt x="388" y="1303"/>
                  <a:pt x="398" y="1320"/>
                </a:cubicBezTo>
                <a:lnTo>
                  <a:pt x="374" y="1334"/>
                </a:lnTo>
                <a:close/>
                <a:moveTo>
                  <a:pt x="2140" y="1290"/>
                </a:moveTo>
                <a:cubicBezTo>
                  <a:pt x="2111" y="1290"/>
                  <a:pt x="2111" y="1290"/>
                  <a:pt x="2111" y="1290"/>
                </a:cubicBezTo>
                <a:cubicBezTo>
                  <a:pt x="2111" y="1227"/>
                  <a:pt x="2111" y="1227"/>
                  <a:pt x="2111" y="1227"/>
                </a:cubicBezTo>
                <a:cubicBezTo>
                  <a:pt x="2140" y="1227"/>
                  <a:pt x="2140" y="1227"/>
                  <a:pt x="2140" y="1227"/>
                </a:cubicBezTo>
                <a:lnTo>
                  <a:pt x="2140" y="1290"/>
                </a:lnTo>
                <a:close/>
                <a:moveTo>
                  <a:pt x="1180" y="1274"/>
                </a:moveTo>
                <a:cubicBezTo>
                  <a:pt x="1155" y="1261"/>
                  <a:pt x="1155" y="1261"/>
                  <a:pt x="1155" y="1261"/>
                </a:cubicBezTo>
                <a:cubicBezTo>
                  <a:pt x="1164" y="1243"/>
                  <a:pt x="1172" y="1224"/>
                  <a:pt x="1180" y="1205"/>
                </a:cubicBezTo>
                <a:cubicBezTo>
                  <a:pt x="1206" y="1215"/>
                  <a:pt x="1206" y="1215"/>
                  <a:pt x="1206" y="1215"/>
                </a:cubicBezTo>
                <a:cubicBezTo>
                  <a:pt x="1199" y="1235"/>
                  <a:pt x="1190" y="1255"/>
                  <a:pt x="1180" y="1274"/>
                </a:cubicBezTo>
                <a:close/>
                <a:moveTo>
                  <a:pt x="322" y="1215"/>
                </a:moveTo>
                <a:cubicBezTo>
                  <a:pt x="316" y="1194"/>
                  <a:pt x="311" y="1173"/>
                  <a:pt x="306" y="1152"/>
                </a:cubicBezTo>
                <a:cubicBezTo>
                  <a:pt x="334" y="1146"/>
                  <a:pt x="334" y="1146"/>
                  <a:pt x="334" y="1146"/>
                </a:cubicBezTo>
                <a:cubicBezTo>
                  <a:pt x="338" y="1166"/>
                  <a:pt x="343" y="1187"/>
                  <a:pt x="349" y="1207"/>
                </a:cubicBezTo>
                <a:lnTo>
                  <a:pt x="322" y="1215"/>
                </a:lnTo>
                <a:close/>
                <a:moveTo>
                  <a:pt x="2140" y="1163"/>
                </a:moveTo>
                <a:cubicBezTo>
                  <a:pt x="2111" y="1163"/>
                  <a:pt x="2111" y="1163"/>
                  <a:pt x="2111" y="1163"/>
                </a:cubicBezTo>
                <a:cubicBezTo>
                  <a:pt x="2111" y="1100"/>
                  <a:pt x="2111" y="1100"/>
                  <a:pt x="2111" y="1100"/>
                </a:cubicBezTo>
                <a:cubicBezTo>
                  <a:pt x="2140" y="1100"/>
                  <a:pt x="2140" y="1100"/>
                  <a:pt x="2140" y="1100"/>
                </a:cubicBezTo>
                <a:lnTo>
                  <a:pt x="2140" y="1163"/>
                </a:lnTo>
                <a:close/>
                <a:moveTo>
                  <a:pt x="1226" y="1152"/>
                </a:moveTo>
                <a:cubicBezTo>
                  <a:pt x="1198" y="1146"/>
                  <a:pt x="1198" y="1146"/>
                  <a:pt x="1198" y="1146"/>
                </a:cubicBezTo>
                <a:cubicBezTo>
                  <a:pt x="1199" y="1142"/>
                  <a:pt x="1200" y="1139"/>
                  <a:pt x="1200" y="1138"/>
                </a:cubicBezTo>
                <a:cubicBezTo>
                  <a:pt x="1200" y="1137"/>
                  <a:pt x="1200" y="1136"/>
                  <a:pt x="1200" y="1134"/>
                </a:cubicBezTo>
                <a:cubicBezTo>
                  <a:pt x="1200" y="1126"/>
                  <a:pt x="1200" y="1108"/>
                  <a:pt x="1202" y="1084"/>
                </a:cubicBezTo>
                <a:cubicBezTo>
                  <a:pt x="1231" y="1087"/>
                  <a:pt x="1231" y="1087"/>
                  <a:pt x="1231" y="1087"/>
                </a:cubicBezTo>
                <a:cubicBezTo>
                  <a:pt x="1229" y="1110"/>
                  <a:pt x="1228" y="1127"/>
                  <a:pt x="1228" y="1134"/>
                </a:cubicBezTo>
                <a:cubicBezTo>
                  <a:pt x="1228" y="1137"/>
                  <a:pt x="1228" y="1139"/>
                  <a:pt x="1228" y="1139"/>
                </a:cubicBezTo>
                <a:cubicBezTo>
                  <a:pt x="1228" y="1140"/>
                  <a:pt x="1228" y="1140"/>
                  <a:pt x="1228" y="1140"/>
                </a:cubicBezTo>
                <a:cubicBezTo>
                  <a:pt x="1228" y="1142"/>
                  <a:pt x="1228" y="1142"/>
                  <a:pt x="1228" y="1142"/>
                </a:cubicBezTo>
                <a:cubicBezTo>
                  <a:pt x="1228" y="1142"/>
                  <a:pt x="1227" y="1146"/>
                  <a:pt x="1226" y="1152"/>
                </a:cubicBezTo>
                <a:close/>
                <a:moveTo>
                  <a:pt x="328" y="1086"/>
                </a:moveTo>
                <a:cubicBezTo>
                  <a:pt x="299" y="1086"/>
                  <a:pt x="299" y="1086"/>
                  <a:pt x="299" y="1086"/>
                </a:cubicBezTo>
                <a:cubicBezTo>
                  <a:pt x="299" y="1022"/>
                  <a:pt x="299" y="1022"/>
                  <a:pt x="299" y="1022"/>
                </a:cubicBezTo>
                <a:cubicBezTo>
                  <a:pt x="328" y="1022"/>
                  <a:pt x="328" y="1022"/>
                  <a:pt x="328" y="1022"/>
                </a:cubicBezTo>
                <a:lnTo>
                  <a:pt x="328" y="1086"/>
                </a:lnTo>
                <a:close/>
                <a:moveTo>
                  <a:pt x="2109" y="1038"/>
                </a:moveTo>
                <a:cubicBezTo>
                  <a:pt x="2106" y="1018"/>
                  <a:pt x="2102" y="998"/>
                  <a:pt x="2097" y="977"/>
                </a:cubicBezTo>
                <a:cubicBezTo>
                  <a:pt x="2125" y="970"/>
                  <a:pt x="2125" y="970"/>
                  <a:pt x="2125" y="970"/>
                </a:cubicBezTo>
                <a:cubicBezTo>
                  <a:pt x="2130" y="992"/>
                  <a:pt x="2134" y="1014"/>
                  <a:pt x="2137" y="1035"/>
                </a:cubicBezTo>
                <a:lnTo>
                  <a:pt x="2109" y="1038"/>
                </a:lnTo>
                <a:close/>
                <a:moveTo>
                  <a:pt x="1239" y="1025"/>
                </a:moveTo>
                <a:cubicBezTo>
                  <a:pt x="1211" y="1020"/>
                  <a:pt x="1211" y="1020"/>
                  <a:pt x="1211" y="1020"/>
                </a:cubicBezTo>
                <a:cubicBezTo>
                  <a:pt x="1215" y="999"/>
                  <a:pt x="1220" y="977"/>
                  <a:pt x="1225" y="957"/>
                </a:cubicBezTo>
                <a:cubicBezTo>
                  <a:pt x="1253" y="964"/>
                  <a:pt x="1253" y="964"/>
                  <a:pt x="1253" y="964"/>
                </a:cubicBezTo>
                <a:cubicBezTo>
                  <a:pt x="1247" y="984"/>
                  <a:pt x="1243" y="1004"/>
                  <a:pt x="1239" y="1025"/>
                </a:cubicBezTo>
                <a:close/>
                <a:moveTo>
                  <a:pt x="328" y="959"/>
                </a:moveTo>
                <a:cubicBezTo>
                  <a:pt x="299" y="959"/>
                  <a:pt x="299" y="959"/>
                  <a:pt x="299" y="959"/>
                </a:cubicBezTo>
                <a:cubicBezTo>
                  <a:pt x="299" y="895"/>
                  <a:pt x="299" y="895"/>
                  <a:pt x="299" y="895"/>
                </a:cubicBezTo>
                <a:cubicBezTo>
                  <a:pt x="328" y="895"/>
                  <a:pt x="328" y="895"/>
                  <a:pt x="328" y="895"/>
                </a:cubicBezTo>
                <a:lnTo>
                  <a:pt x="328" y="959"/>
                </a:lnTo>
                <a:close/>
                <a:moveTo>
                  <a:pt x="2080" y="918"/>
                </a:moveTo>
                <a:cubicBezTo>
                  <a:pt x="2072" y="898"/>
                  <a:pt x="2064" y="879"/>
                  <a:pt x="2055" y="861"/>
                </a:cubicBezTo>
                <a:cubicBezTo>
                  <a:pt x="2080" y="848"/>
                  <a:pt x="2080" y="848"/>
                  <a:pt x="2080" y="848"/>
                </a:cubicBezTo>
                <a:cubicBezTo>
                  <a:pt x="2090" y="867"/>
                  <a:pt x="2099" y="887"/>
                  <a:pt x="2106" y="908"/>
                </a:cubicBezTo>
                <a:lnTo>
                  <a:pt x="2080" y="918"/>
                </a:lnTo>
                <a:close/>
                <a:moveTo>
                  <a:pt x="1272" y="906"/>
                </a:moveTo>
                <a:cubicBezTo>
                  <a:pt x="1246" y="895"/>
                  <a:pt x="1246" y="895"/>
                  <a:pt x="1246" y="895"/>
                </a:cubicBezTo>
                <a:cubicBezTo>
                  <a:pt x="1254" y="875"/>
                  <a:pt x="1263" y="855"/>
                  <a:pt x="1273" y="836"/>
                </a:cubicBezTo>
                <a:cubicBezTo>
                  <a:pt x="1298" y="850"/>
                  <a:pt x="1298" y="850"/>
                  <a:pt x="1298" y="850"/>
                </a:cubicBezTo>
                <a:cubicBezTo>
                  <a:pt x="1289" y="867"/>
                  <a:pt x="1280" y="886"/>
                  <a:pt x="1272" y="906"/>
                </a:cubicBezTo>
                <a:close/>
                <a:moveTo>
                  <a:pt x="328" y="832"/>
                </a:moveTo>
                <a:cubicBezTo>
                  <a:pt x="299" y="832"/>
                  <a:pt x="299" y="832"/>
                  <a:pt x="299" y="832"/>
                </a:cubicBezTo>
                <a:cubicBezTo>
                  <a:pt x="299" y="768"/>
                  <a:pt x="299" y="768"/>
                  <a:pt x="299" y="768"/>
                </a:cubicBezTo>
                <a:cubicBezTo>
                  <a:pt x="328" y="768"/>
                  <a:pt x="328" y="768"/>
                  <a:pt x="328" y="768"/>
                </a:cubicBezTo>
                <a:lnTo>
                  <a:pt x="328" y="832"/>
                </a:lnTo>
                <a:close/>
                <a:moveTo>
                  <a:pt x="2024" y="808"/>
                </a:moveTo>
                <a:cubicBezTo>
                  <a:pt x="2012" y="791"/>
                  <a:pt x="1999" y="775"/>
                  <a:pt x="1985" y="761"/>
                </a:cubicBezTo>
                <a:cubicBezTo>
                  <a:pt x="2006" y="741"/>
                  <a:pt x="2006" y="741"/>
                  <a:pt x="2006" y="741"/>
                </a:cubicBezTo>
                <a:cubicBezTo>
                  <a:pt x="2020" y="757"/>
                  <a:pt x="2034" y="774"/>
                  <a:pt x="2047" y="792"/>
                </a:cubicBezTo>
                <a:lnTo>
                  <a:pt x="2024" y="808"/>
                </a:lnTo>
                <a:close/>
                <a:moveTo>
                  <a:pt x="1331" y="798"/>
                </a:moveTo>
                <a:cubicBezTo>
                  <a:pt x="1308" y="781"/>
                  <a:pt x="1308" y="781"/>
                  <a:pt x="1308" y="781"/>
                </a:cubicBezTo>
                <a:cubicBezTo>
                  <a:pt x="1322" y="763"/>
                  <a:pt x="1336" y="746"/>
                  <a:pt x="1351" y="731"/>
                </a:cubicBezTo>
                <a:cubicBezTo>
                  <a:pt x="1371" y="751"/>
                  <a:pt x="1371" y="751"/>
                  <a:pt x="1371" y="751"/>
                </a:cubicBezTo>
                <a:cubicBezTo>
                  <a:pt x="1357" y="766"/>
                  <a:pt x="1344" y="781"/>
                  <a:pt x="1331" y="798"/>
                </a:cubicBezTo>
                <a:close/>
                <a:moveTo>
                  <a:pt x="1939" y="720"/>
                </a:moveTo>
                <a:cubicBezTo>
                  <a:pt x="1923" y="708"/>
                  <a:pt x="1906" y="697"/>
                  <a:pt x="1888" y="688"/>
                </a:cubicBezTo>
                <a:cubicBezTo>
                  <a:pt x="1901" y="663"/>
                  <a:pt x="1901" y="663"/>
                  <a:pt x="1901" y="663"/>
                </a:cubicBezTo>
                <a:cubicBezTo>
                  <a:pt x="1920" y="673"/>
                  <a:pt x="1939" y="685"/>
                  <a:pt x="1956" y="698"/>
                </a:cubicBezTo>
                <a:lnTo>
                  <a:pt x="1939" y="720"/>
                </a:lnTo>
                <a:close/>
                <a:moveTo>
                  <a:pt x="1418" y="713"/>
                </a:moveTo>
                <a:cubicBezTo>
                  <a:pt x="1402" y="689"/>
                  <a:pt x="1402" y="689"/>
                  <a:pt x="1402" y="689"/>
                </a:cubicBezTo>
                <a:cubicBezTo>
                  <a:pt x="1420" y="677"/>
                  <a:pt x="1439" y="666"/>
                  <a:pt x="1459" y="656"/>
                </a:cubicBezTo>
                <a:cubicBezTo>
                  <a:pt x="1471" y="682"/>
                  <a:pt x="1471" y="682"/>
                  <a:pt x="1471" y="682"/>
                </a:cubicBezTo>
                <a:cubicBezTo>
                  <a:pt x="1452" y="691"/>
                  <a:pt x="1435" y="701"/>
                  <a:pt x="1418" y="713"/>
                </a:cubicBezTo>
                <a:close/>
                <a:moveTo>
                  <a:pt x="328" y="705"/>
                </a:moveTo>
                <a:cubicBezTo>
                  <a:pt x="299" y="705"/>
                  <a:pt x="299" y="705"/>
                  <a:pt x="299" y="705"/>
                </a:cubicBezTo>
                <a:cubicBezTo>
                  <a:pt x="299" y="641"/>
                  <a:pt x="299" y="641"/>
                  <a:pt x="299" y="641"/>
                </a:cubicBezTo>
                <a:cubicBezTo>
                  <a:pt x="328" y="641"/>
                  <a:pt x="328" y="641"/>
                  <a:pt x="328" y="641"/>
                </a:cubicBezTo>
                <a:lnTo>
                  <a:pt x="328" y="705"/>
                </a:lnTo>
                <a:close/>
                <a:moveTo>
                  <a:pt x="1831" y="664"/>
                </a:moveTo>
                <a:cubicBezTo>
                  <a:pt x="1813" y="658"/>
                  <a:pt x="1793" y="653"/>
                  <a:pt x="1772" y="649"/>
                </a:cubicBezTo>
                <a:cubicBezTo>
                  <a:pt x="1777" y="621"/>
                  <a:pt x="1777" y="621"/>
                  <a:pt x="1777" y="621"/>
                </a:cubicBezTo>
                <a:cubicBezTo>
                  <a:pt x="1799" y="625"/>
                  <a:pt x="1820" y="631"/>
                  <a:pt x="1840" y="637"/>
                </a:cubicBezTo>
                <a:lnTo>
                  <a:pt x="1831" y="664"/>
                </a:lnTo>
                <a:close/>
                <a:moveTo>
                  <a:pt x="1528" y="660"/>
                </a:moveTo>
                <a:cubicBezTo>
                  <a:pt x="1520" y="633"/>
                  <a:pt x="1520" y="633"/>
                  <a:pt x="1520" y="633"/>
                </a:cubicBezTo>
                <a:cubicBezTo>
                  <a:pt x="1540" y="627"/>
                  <a:pt x="1561" y="622"/>
                  <a:pt x="1583" y="619"/>
                </a:cubicBezTo>
                <a:cubicBezTo>
                  <a:pt x="1588" y="647"/>
                  <a:pt x="1588" y="647"/>
                  <a:pt x="1588" y="647"/>
                </a:cubicBezTo>
                <a:cubicBezTo>
                  <a:pt x="1567" y="650"/>
                  <a:pt x="1547" y="654"/>
                  <a:pt x="1528" y="660"/>
                </a:cubicBezTo>
                <a:close/>
                <a:moveTo>
                  <a:pt x="1711" y="641"/>
                </a:moveTo>
                <a:cubicBezTo>
                  <a:pt x="1699" y="641"/>
                  <a:pt x="1687" y="640"/>
                  <a:pt x="1675" y="640"/>
                </a:cubicBezTo>
                <a:cubicBezTo>
                  <a:pt x="1666" y="640"/>
                  <a:pt x="1658" y="640"/>
                  <a:pt x="1649" y="641"/>
                </a:cubicBezTo>
                <a:cubicBezTo>
                  <a:pt x="1648" y="612"/>
                  <a:pt x="1648" y="612"/>
                  <a:pt x="1648" y="612"/>
                </a:cubicBezTo>
                <a:cubicBezTo>
                  <a:pt x="1657" y="612"/>
                  <a:pt x="1666" y="612"/>
                  <a:pt x="1675" y="612"/>
                </a:cubicBezTo>
                <a:cubicBezTo>
                  <a:pt x="1688" y="612"/>
                  <a:pt x="1701" y="612"/>
                  <a:pt x="1713" y="613"/>
                </a:cubicBezTo>
                <a:lnTo>
                  <a:pt x="1711" y="641"/>
                </a:lnTo>
                <a:close/>
                <a:moveTo>
                  <a:pt x="328" y="578"/>
                </a:moveTo>
                <a:cubicBezTo>
                  <a:pt x="299" y="578"/>
                  <a:pt x="299" y="578"/>
                  <a:pt x="299" y="578"/>
                </a:cubicBezTo>
                <a:cubicBezTo>
                  <a:pt x="299" y="515"/>
                  <a:pt x="299" y="515"/>
                  <a:pt x="299" y="515"/>
                </a:cubicBezTo>
                <a:cubicBezTo>
                  <a:pt x="328" y="515"/>
                  <a:pt x="328" y="515"/>
                  <a:pt x="328" y="515"/>
                </a:cubicBezTo>
                <a:lnTo>
                  <a:pt x="328" y="578"/>
                </a:lnTo>
                <a:close/>
                <a:moveTo>
                  <a:pt x="328" y="451"/>
                </a:moveTo>
                <a:cubicBezTo>
                  <a:pt x="299" y="451"/>
                  <a:pt x="299" y="451"/>
                  <a:pt x="299" y="451"/>
                </a:cubicBezTo>
                <a:cubicBezTo>
                  <a:pt x="299" y="434"/>
                  <a:pt x="299" y="434"/>
                  <a:pt x="299" y="434"/>
                </a:cubicBezTo>
                <a:cubicBezTo>
                  <a:pt x="299" y="434"/>
                  <a:pt x="299" y="417"/>
                  <a:pt x="295" y="390"/>
                </a:cubicBezTo>
                <a:cubicBezTo>
                  <a:pt x="323" y="385"/>
                  <a:pt x="323" y="385"/>
                  <a:pt x="323" y="385"/>
                </a:cubicBezTo>
                <a:cubicBezTo>
                  <a:pt x="328" y="415"/>
                  <a:pt x="328" y="433"/>
                  <a:pt x="328" y="434"/>
                </a:cubicBezTo>
                <a:lnTo>
                  <a:pt x="328" y="451"/>
                </a:lnTo>
                <a:close/>
                <a:moveTo>
                  <a:pt x="282" y="329"/>
                </a:moveTo>
                <a:cubicBezTo>
                  <a:pt x="276" y="309"/>
                  <a:pt x="270" y="290"/>
                  <a:pt x="262" y="271"/>
                </a:cubicBezTo>
                <a:cubicBezTo>
                  <a:pt x="288" y="260"/>
                  <a:pt x="288" y="260"/>
                  <a:pt x="288" y="260"/>
                </a:cubicBezTo>
                <a:cubicBezTo>
                  <a:pt x="296" y="280"/>
                  <a:pt x="304" y="301"/>
                  <a:pt x="309" y="322"/>
                </a:cubicBezTo>
                <a:lnTo>
                  <a:pt x="282" y="329"/>
                </a:lnTo>
                <a:close/>
                <a:moveTo>
                  <a:pt x="234" y="216"/>
                </a:moveTo>
                <a:cubicBezTo>
                  <a:pt x="224" y="198"/>
                  <a:pt x="212" y="181"/>
                  <a:pt x="199" y="166"/>
                </a:cubicBezTo>
                <a:cubicBezTo>
                  <a:pt x="221" y="148"/>
                  <a:pt x="221" y="148"/>
                  <a:pt x="221" y="148"/>
                </a:cubicBezTo>
                <a:cubicBezTo>
                  <a:pt x="235" y="165"/>
                  <a:pt x="247" y="183"/>
                  <a:pt x="259" y="202"/>
                </a:cubicBezTo>
                <a:lnTo>
                  <a:pt x="234" y="216"/>
                </a:lnTo>
                <a:close/>
                <a:moveTo>
                  <a:pt x="157" y="121"/>
                </a:moveTo>
                <a:cubicBezTo>
                  <a:pt x="143" y="107"/>
                  <a:pt x="127" y="94"/>
                  <a:pt x="110" y="82"/>
                </a:cubicBezTo>
                <a:cubicBezTo>
                  <a:pt x="126" y="59"/>
                  <a:pt x="126" y="59"/>
                  <a:pt x="126" y="59"/>
                </a:cubicBezTo>
                <a:cubicBezTo>
                  <a:pt x="144" y="71"/>
                  <a:pt x="161" y="85"/>
                  <a:pt x="177" y="100"/>
                </a:cubicBezTo>
                <a:lnTo>
                  <a:pt x="157" y="121"/>
                </a:lnTo>
                <a:close/>
                <a:moveTo>
                  <a:pt x="57" y="51"/>
                </a:moveTo>
                <a:cubicBezTo>
                  <a:pt x="39" y="42"/>
                  <a:pt x="20" y="34"/>
                  <a:pt x="0" y="26"/>
                </a:cubicBezTo>
                <a:cubicBezTo>
                  <a:pt x="10" y="0"/>
                  <a:pt x="10" y="0"/>
                  <a:pt x="10" y="0"/>
                </a:cubicBezTo>
                <a:cubicBezTo>
                  <a:pt x="31" y="7"/>
                  <a:pt x="51" y="16"/>
                  <a:pt x="70" y="26"/>
                </a:cubicBezTo>
                <a:lnTo>
                  <a:pt x="57" y="5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" name="Freeform 6"/>
          <p:cNvSpPr/>
          <p:nvPr/>
        </p:nvSpPr>
        <p:spPr>
          <a:xfrm>
            <a:off x="5264467" y="3798785"/>
            <a:ext cx="773182" cy="842692"/>
          </a:xfrm>
          <a:custGeom>
            <a:avLst/>
            <a:gdLst>
              <a:gd name="connsiteX0" fmla="*/ 587375 w 1179576"/>
              <a:gd name="connsiteY0" fmla="*/ 0 h 1285623"/>
              <a:gd name="connsiteX1" fmla="*/ 592201 w 1179576"/>
              <a:gd name="connsiteY1" fmla="*/ 0 h 1285623"/>
              <a:gd name="connsiteX2" fmla="*/ 1179576 w 1179576"/>
              <a:gd name="connsiteY2" fmla="*/ 587375 h 1285623"/>
              <a:gd name="connsiteX3" fmla="*/ 592201 w 1179576"/>
              <a:gd name="connsiteY3" fmla="*/ 1174750 h 1285623"/>
              <a:gd name="connsiteX4" fmla="*/ 587375 w 1179576"/>
              <a:gd name="connsiteY4" fmla="*/ 1174750 h 1285623"/>
              <a:gd name="connsiteX5" fmla="*/ 468999 w 1179576"/>
              <a:gd name="connsiteY5" fmla="*/ 1162817 h 1285623"/>
              <a:gd name="connsiteX6" fmla="*/ 362488 w 1179576"/>
              <a:gd name="connsiteY6" fmla="*/ 1129754 h 1285623"/>
              <a:gd name="connsiteX7" fmla="*/ 330042 w 1179576"/>
              <a:gd name="connsiteY7" fmla="*/ 1160516 h 1285623"/>
              <a:gd name="connsiteX8" fmla="*/ 32761 w 1179576"/>
              <a:gd name="connsiteY8" fmla="*/ 1285623 h 1285623"/>
              <a:gd name="connsiteX9" fmla="*/ 140521 w 1179576"/>
              <a:gd name="connsiteY9" fmla="*/ 974581 h 1285623"/>
              <a:gd name="connsiteX10" fmla="*/ 141214 w 1179576"/>
              <a:gd name="connsiteY10" fmla="*/ 965352 h 1285623"/>
              <a:gd name="connsiteX11" fmla="*/ 100315 w 1179576"/>
              <a:gd name="connsiteY11" fmla="*/ 915782 h 1285623"/>
              <a:gd name="connsiteX12" fmla="*/ 0 w 1179576"/>
              <a:gd name="connsiteY12" fmla="*/ 587375 h 1285623"/>
              <a:gd name="connsiteX13" fmla="*/ 587375 w 1179576"/>
              <a:gd name="connsiteY13" fmla="*/ 0 h 1285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79576" h="1285623">
                <a:moveTo>
                  <a:pt x="587375" y="0"/>
                </a:moveTo>
                <a:lnTo>
                  <a:pt x="592201" y="0"/>
                </a:lnTo>
                <a:cubicBezTo>
                  <a:pt x="916599" y="0"/>
                  <a:pt x="1179576" y="262977"/>
                  <a:pt x="1179576" y="587375"/>
                </a:cubicBezTo>
                <a:cubicBezTo>
                  <a:pt x="1179576" y="911773"/>
                  <a:pt x="916599" y="1174750"/>
                  <a:pt x="592201" y="1174750"/>
                </a:cubicBezTo>
                <a:lnTo>
                  <a:pt x="587375" y="1174750"/>
                </a:lnTo>
                <a:cubicBezTo>
                  <a:pt x="546826" y="1174750"/>
                  <a:pt x="507235" y="1170641"/>
                  <a:pt x="468999" y="1162817"/>
                </a:cubicBezTo>
                <a:lnTo>
                  <a:pt x="362488" y="1129754"/>
                </a:lnTo>
                <a:lnTo>
                  <a:pt x="330042" y="1160516"/>
                </a:lnTo>
                <a:cubicBezTo>
                  <a:pt x="268330" y="1212879"/>
                  <a:pt x="171847" y="1269318"/>
                  <a:pt x="32761" y="1285623"/>
                </a:cubicBezTo>
                <a:cubicBezTo>
                  <a:pt x="32761" y="1285623"/>
                  <a:pt x="140521" y="1230438"/>
                  <a:pt x="140521" y="974581"/>
                </a:cubicBezTo>
                <a:lnTo>
                  <a:pt x="141214" y="965352"/>
                </a:lnTo>
                <a:lnTo>
                  <a:pt x="100315" y="915782"/>
                </a:lnTo>
                <a:cubicBezTo>
                  <a:pt x="36981" y="822036"/>
                  <a:pt x="0" y="709024"/>
                  <a:pt x="0" y="587375"/>
                </a:cubicBezTo>
                <a:cubicBezTo>
                  <a:pt x="0" y="262977"/>
                  <a:pt x="262977" y="0"/>
                  <a:pt x="587375" y="0"/>
                </a:cubicBezTo>
                <a:close/>
              </a:path>
            </a:pathLst>
          </a:custGeom>
          <a:gradFill flip="none" rotWithShape="1">
            <a:gsLst>
              <a:gs pos="0">
                <a:srgbClr val="285066"/>
              </a:gs>
              <a:gs pos="45000">
                <a:srgbClr val="366C89"/>
              </a:gs>
              <a:gs pos="100000">
                <a:srgbClr val="EF7D4F"/>
              </a:gs>
            </a:gsLst>
            <a:lin ang="189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Freeform 7"/>
          <p:cNvSpPr/>
          <p:nvPr/>
        </p:nvSpPr>
        <p:spPr>
          <a:xfrm>
            <a:off x="4491285" y="1214708"/>
            <a:ext cx="773182" cy="842692"/>
          </a:xfrm>
          <a:custGeom>
            <a:avLst/>
            <a:gdLst>
              <a:gd name="connsiteX0" fmla="*/ 587375 w 1179576"/>
              <a:gd name="connsiteY0" fmla="*/ 0 h 1285623"/>
              <a:gd name="connsiteX1" fmla="*/ 592201 w 1179576"/>
              <a:gd name="connsiteY1" fmla="*/ 0 h 1285623"/>
              <a:gd name="connsiteX2" fmla="*/ 1179576 w 1179576"/>
              <a:gd name="connsiteY2" fmla="*/ 587375 h 1285623"/>
              <a:gd name="connsiteX3" fmla="*/ 592201 w 1179576"/>
              <a:gd name="connsiteY3" fmla="*/ 1174750 h 1285623"/>
              <a:gd name="connsiteX4" fmla="*/ 587375 w 1179576"/>
              <a:gd name="connsiteY4" fmla="*/ 1174750 h 1285623"/>
              <a:gd name="connsiteX5" fmla="*/ 468999 w 1179576"/>
              <a:gd name="connsiteY5" fmla="*/ 1162817 h 1285623"/>
              <a:gd name="connsiteX6" fmla="*/ 362488 w 1179576"/>
              <a:gd name="connsiteY6" fmla="*/ 1129754 h 1285623"/>
              <a:gd name="connsiteX7" fmla="*/ 330042 w 1179576"/>
              <a:gd name="connsiteY7" fmla="*/ 1160516 h 1285623"/>
              <a:gd name="connsiteX8" fmla="*/ 32761 w 1179576"/>
              <a:gd name="connsiteY8" fmla="*/ 1285623 h 1285623"/>
              <a:gd name="connsiteX9" fmla="*/ 140521 w 1179576"/>
              <a:gd name="connsiteY9" fmla="*/ 974581 h 1285623"/>
              <a:gd name="connsiteX10" fmla="*/ 141214 w 1179576"/>
              <a:gd name="connsiteY10" fmla="*/ 965352 h 1285623"/>
              <a:gd name="connsiteX11" fmla="*/ 100315 w 1179576"/>
              <a:gd name="connsiteY11" fmla="*/ 915782 h 1285623"/>
              <a:gd name="connsiteX12" fmla="*/ 0 w 1179576"/>
              <a:gd name="connsiteY12" fmla="*/ 587375 h 1285623"/>
              <a:gd name="connsiteX13" fmla="*/ 587375 w 1179576"/>
              <a:gd name="connsiteY13" fmla="*/ 0 h 1285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79576" h="1285623">
                <a:moveTo>
                  <a:pt x="587375" y="0"/>
                </a:moveTo>
                <a:lnTo>
                  <a:pt x="592201" y="0"/>
                </a:lnTo>
                <a:cubicBezTo>
                  <a:pt x="916599" y="0"/>
                  <a:pt x="1179576" y="262977"/>
                  <a:pt x="1179576" y="587375"/>
                </a:cubicBezTo>
                <a:cubicBezTo>
                  <a:pt x="1179576" y="911773"/>
                  <a:pt x="916599" y="1174750"/>
                  <a:pt x="592201" y="1174750"/>
                </a:cubicBezTo>
                <a:lnTo>
                  <a:pt x="587375" y="1174750"/>
                </a:lnTo>
                <a:cubicBezTo>
                  <a:pt x="546826" y="1174750"/>
                  <a:pt x="507235" y="1170641"/>
                  <a:pt x="468999" y="1162817"/>
                </a:cubicBezTo>
                <a:lnTo>
                  <a:pt x="362488" y="1129754"/>
                </a:lnTo>
                <a:lnTo>
                  <a:pt x="330042" y="1160516"/>
                </a:lnTo>
                <a:cubicBezTo>
                  <a:pt x="268330" y="1212879"/>
                  <a:pt x="171847" y="1269318"/>
                  <a:pt x="32761" y="1285623"/>
                </a:cubicBezTo>
                <a:cubicBezTo>
                  <a:pt x="32761" y="1285623"/>
                  <a:pt x="140521" y="1230438"/>
                  <a:pt x="140521" y="974581"/>
                </a:cubicBezTo>
                <a:lnTo>
                  <a:pt x="141214" y="965352"/>
                </a:lnTo>
                <a:lnTo>
                  <a:pt x="100315" y="915782"/>
                </a:lnTo>
                <a:cubicBezTo>
                  <a:pt x="36981" y="822036"/>
                  <a:pt x="0" y="709024"/>
                  <a:pt x="0" y="587375"/>
                </a:cubicBezTo>
                <a:cubicBezTo>
                  <a:pt x="0" y="262977"/>
                  <a:pt x="262977" y="0"/>
                  <a:pt x="587375" y="0"/>
                </a:cubicBezTo>
                <a:close/>
              </a:path>
            </a:pathLst>
          </a:custGeom>
          <a:gradFill flip="none" rotWithShape="1">
            <a:gsLst>
              <a:gs pos="0">
                <a:srgbClr val="285066"/>
              </a:gs>
              <a:gs pos="45000">
                <a:srgbClr val="366C89"/>
              </a:gs>
              <a:gs pos="100000">
                <a:srgbClr val="EF7D4F"/>
              </a:gs>
            </a:gsLst>
            <a:lin ang="189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Freeform 8"/>
          <p:cNvSpPr/>
          <p:nvPr/>
        </p:nvSpPr>
        <p:spPr>
          <a:xfrm>
            <a:off x="1227781" y="934383"/>
            <a:ext cx="773182" cy="842692"/>
          </a:xfrm>
          <a:custGeom>
            <a:avLst/>
            <a:gdLst>
              <a:gd name="connsiteX0" fmla="*/ 587375 w 1179576"/>
              <a:gd name="connsiteY0" fmla="*/ 0 h 1285623"/>
              <a:gd name="connsiteX1" fmla="*/ 592201 w 1179576"/>
              <a:gd name="connsiteY1" fmla="*/ 0 h 1285623"/>
              <a:gd name="connsiteX2" fmla="*/ 1179576 w 1179576"/>
              <a:gd name="connsiteY2" fmla="*/ 587375 h 1285623"/>
              <a:gd name="connsiteX3" fmla="*/ 592201 w 1179576"/>
              <a:gd name="connsiteY3" fmla="*/ 1174750 h 1285623"/>
              <a:gd name="connsiteX4" fmla="*/ 587375 w 1179576"/>
              <a:gd name="connsiteY4" fmla="*/ 1174750 h 1285623"/>
              <a:gd name="connsiteX5" fmla="*/ 468999 w 1179576"/>
              <a:gd name="connsiteY5" fmla="*/ 1162817 h 1285623"/>
              <a:gd name="connsiteX6" fmla="*/ 362488 w 1179576"/>
              <a:gd name="connsiteY6" fmla="*/ 1129754 h 1285623"/>
              <a:gd name="connsiteX7" fmla="*/ 330042 w 1179576"/>
              <a:gd name="connsiteY7" fmla="*/ 1160516 h 1285623"/>
              <a:gd name="connsiteX8" fmla="*/ 32761 w 1179576"/>
              <a:gd name="connsiteY8" fmla="*/ 1285623 h 1285623"/>
              <a:gd name="connsiteX9" fmla="*/ 140521 w 1179576"/>
              <a:gd name="connsiteY9" fmla="*/ 974581 h 1285623"/>
              <a:gd name="connsiteX10" fmla="*/ 141214 w 1179576"/>
              <a:gd name="connsiteY10" fmla="*/ 965352 h 1285623"/>
              <a:gd name="connsiteX11" fmla="*/ 100315 w 1179576"/>
              <a:gd name="connsiteY11" fmla="*/ 915782 h 1285623"/>
              <a:gd name="connsiteX12" fmla="*/ 0 w 1179576"/>
              <a:gd name="connsiteY12" fmla="*/ 587375 h 1285623"/>
              <a:gd name="connsiteX13" fmla="*/ 587375 w 1179576"/>
              <a:gd name="connsiteY13" fmla="*/ 0 h 1285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79576" h="1285623">
                <a:moveTo>
                  <a:pt x="587375" y="0"/>
                </a:moveTo>
                <a:lnTo>
                  <a:pt x="592201" y="0"/>
                </a:lnTo>
                <a:cubicBezTo>
                  <a:pt x="916599" y="0"/>
                  <a:pt x="1179576" y="262977"/>
                  <a:pt x="1179576" y="587375"/>
                </a:cubicBezTo>
                <a:cubicBezTo>
                  <a:pt x="1179576" y="911773"/>
                  <a:pt x="916599" y="1174750"/>
                  <a:pt x="592201" y="1174750"/>
                </a:cubicBezTo>
                <a:lnTo>
                  <a:pt x="587375" y="1174750"/>
                </a:lnTo>
                <a:cubicBezTo>
                  <a:pt x="546826" y="1174750"/>
                  <a:pt x="507235" y="1170641"/>
                  <a:pt x="468999" y="1162817"/>
                </a:cubicBezTo>
                <a:lnTo>
                  <a:pt x="362488" y="1129754"/>
                </a:lnTo>
                <a:lnTo>
                  <a:pt x="330042" y="1160516"/>
                </a:lnTo>
                <a:cubicBezTo>
                  <a:pt x="268330" y="1212879"/>
                  <a:pt x="171847" y="1269318"/>
                  <a:pt x="32761" y="1285623"/>
                </a:cubicBezTo>
                <a:cubicBezTo>
                  <a:pt x="32761" y="1285623"/>
                  <a:pt x="140521" y="1230438"/>
                  <a:pt x="140521" y="974581"/>
                </a:cubicBezTo>
                <a:lnTo>
                  <a:pt x="141214" y="965352"/>
                </a:lnTo>
                <a:lnTo>
                  <a:pt x="100315" y="915782"/>
                </a:lnTo>
                <a:cubicBezTo>
                  <a:pt x="36981" y="822036"/>
                  <a:pt x="0" y="709024"/>
                  <a:pt x="0" y="587375"/>
                </a:cubicBezTo>
                <a:cubicBezTo>
                  <a:pt x="0" y="262977"/>
                  <a:pt x="262977" y="0"/>
                  <a:pt x="587375" y="0"/>
                </a:cubicBezTo>
                <a:close/>
              </a:path>
            </a:pathLst>
          </a:custGeom>
          <a:gradFill flip="none" rotWithShape="1">
            <a:gsLst>
              <a:gs pos="0">
                <a:srgbClr val="285066"/>
              </a:gs>
              <a:gs pos="45000">
                <a:srgbClr val="366C89"/>
              </a:gs>
              <a:gs pos="100000">
                <a:srgbClr val="EF7D4F"/>
              </a:gs>
            </a:gsLst>
            <a:lin ang="189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Freeform 9"/>
          <p:cNvSpPr/>
          <p:nvPr/>
        </p:nvSpPr>
        <p:spPr>
          <a:xfrm flipH="1" flipV="1">
            <a:off x="522092" y="4432171"/>
            <a:ext cx="773182" cy="842692"/>
          </a:xfrm>
          <a:custGeom>
            <a:avLst/>
            <a:gdLst>
              <a:gd name="connsiteX0" fmla="*/ 587375 w 1179576"/>
              <a:gd name="connsiteY0" fmla="*/ 0 h 1285623"/>
              <a:gd name="connsiteX1" fmla="*/ 592201 w 1179576"/>
              <a:gd name="connsiteY1" fmla="*/ 0 h 1285623"/>
              <a:gd name="connsiteX2" fmla="*/ 1179576 w 1179576"/>
              <a:gd name="connsiteY2" fmla="*/ 587375 h 1285623"/>
              <a:gd name="connsiteX3" fmla="*/ 592201 w 1179576"/>
              <a:gd name="connsiteY3" fmla="*/ 1174750 h 1285623"/>
              <a:gd name="connsiteX4" fmla="*/ 587375 w 1179576"/>
              <a:gd name="connsiteY4" fmla="*/ 1174750 h 1285623"/>
              <a:gd name="connsiteX5" fmla="*/ 468999 w 1179576"/>
              <a:gd name="connsiteY5" fmla="*/ 1162817 h 1285623"/>
              <a:gd name="connsiteX6" fmla="*/ 362488 w 1179576"/>
              <a:gd name="connsiteY6" fmla="*/ 1129754 h 1285623"/>
              <a:gd name="connsiteX7" fmla="*/ 330042 w 1179576"/>
              <a:gd name="connsiteY7" fmla="*/ 1160516 h 1285623"/>
              <a:gd name="connsiteX8" fmla="*/ 32761 w 1179576"/>
              <a:gd name="connsiteY8" fmla="*/ 1285623 h 1285623"/>
              <a:gd name="connsiteX9" fmla="*/ 140521 w 1179576"/>
              <a:gd name="connsiteY9" fmla="*/ 974581 h 1285623"/>
              <a:gd name="connsiteX10" fmla="*/ 141214 w 1179576"/>
              <a:gd name="connsiteY10" fmla="*/ 965352 h 1285623"/>
              <a:gd name="connsiteX11" fmla="*/ 100315 w 1179576"/>
              <a:gd name="connsiteY11" fmla="*/ 915782 h 1285623"/>
              <a:gd name="connsiteX12" fmla="*/ 0 w 1179576"/>
              <a:gd name="connsiteY12" fmla="*/ 587375 h 1285623"/>
              <a:gd name="connsiteX13" fmla="*/ 587375 w 1179576"/>
              <a:gd name="connsiteY13" fmla="*/ 0 h 1285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79576" h="1285623">
                <a:moveTo>
                  <a:pt x="587375" y="0"/>
                </a:moveTo>
                <a:lnTo>
                  <a:pt x="592201" y="0"/>
                </a:lnTo>
                <a:cubicBezTo>
                  <a:pt x="916599" y="0"/>
                  <a:pt x="1179576" y="262977"/>
                  <a:pt x="1179576" y="587375"/>
                </a:cubicBezTo>
                <a:cubicBezTo>
                  <a:pt x="1179576" y="911773"/>
                  <a:pt x="916599" y="1174750"/>
                  <a:pt x="592201" y="1174750"/>
                </a:cubicBezTo>
                <a:lnTo>
                  <a:pt x="587375" y="1174750"/>
                </a:lnTo>
                <a:cubicBezTo>
                  <a:pt x="546826" y="1174750"/>
                  <a:pt x="507235" y="1170641"/>
                  <a:pt x="468999" y="1162817"/>
                </a:cubicBezTo>
                <a:lnTo>
                  <a:pt x="362488" y="1129754"/>
                </a:lnTo>
                <a:lnTo>
                  <a:pt x="330042" y="1160516"/>
                </a:lnTo>
                <a:cubicBezTo>
                  <a:pt x="268330" y="1212879"/>
                  <a:pt x="171847" y="1269318"/>
                  <a:pt x="32761" y="1285623"/>
                </a:cubicBezTo>
                <a:cubicBezTo>
                  <a:pt x="32761" y="1285623"/>
                  <a:pt x="140521" y="1230438"/>
                  <a:pt x="140521" y="974581"/>
                </a:cubicBezTo>
                <a:lnTo>
                  <a:pt x="141214" y="965352"/>
                </a:lnTo>
                <a:lnTo>
                  <a:pt x="100315" y="915782"/>
                </a:lnTo>
                <a:cubicBezTo>
                  <a:pt x="36981" y="822036"/>
                  <a:pt x="0" y="709024"/>
                  <a:pt x="0" y="587375"/>
                </a:cubicBezTo>
                <a:cubicBezTo>
                  <a:pt x="0" y="262977"/>
                  <a:pt x="262977" y="0"/>
                  <a:pt x="587375" y="0"/>
                </a:cubicBezTo>
                <a:close/>
              </a:path>
            </a:pathLst>
          </a:custGeom>
          <a:gradFill flip="none" rotWithShape="1">
            <a:gsLst>
              <a:gs pos="0">
                <a:srgbClr val="285066"/>
              </a:gs>
              <a:gs pos="45000">
                <a:srgbClr val="366C89"/>
              </a:gs>
              <a:gs pos="100000">
                <a:srgbClr val="EF7D4F"/>
              </a:gs>
            </a:gsLst>
            <a:lin ang="189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2098253" y="583260"/>
            <a:ext cx="1755227" cy="147732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pt-BR" sz="1600" b="1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O </a:t>
            </a:r>
            <a:r>
              <a:rPr lang="pt-BR" sz="1600" b="1" dirty="0" err="1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virus</a:t>
            </a:r>
            <a:r>
              <a:rPr lang="pt-BR" sz="1600" b="1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 da Zika   pode infectar o cérebro de adultos e causar problemas na memória.</a:t>
            </a: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1354185" y="4536199"/>
            <a:ext cx="3146609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pt-BR" sz="160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Pacientes infectados tem maior risco de desenvolver  doenças </a:t>
            </a:r>
            <a:r>
              <a:rPr lang="pt-BR" sz="1600" dirty="0" err="1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neurodegenerativas</a:t>
            </a:r>
            <a:r>
              <a:rPr lang="pt-BR" sz="160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? </a:t>
            </a:r>
          </a:p>
        </p:txBody>
      </p:sp>
      <p:sp>
        <p:nvSpPr>
          <p:cNvPr id="58" name="Freeform 9"/>
          <p:cNvSpPr>
            <a:spLocks noEditPoints="1"/>
          </p:cNvSpPr>
          <p:nvPr/>
        </p:nvSpPr>
        <p:spPr bwMode="auto">
          <a:xfrm>
            <a:off x="4689349" y="1401155"/>
            <a:ext cx="375920" cy="375920"/>
          </a:xfrm>
          <a:custGeom>
            <a:avLst/>
            <a:gdLst>
              <a:gd name="T0" fmla="*/ 1450 w 1484"/>
              <a:gd name="T1" fmla="*/ 713 h 1484"/>
              <a:gd name="T2" fmla="*/ 1308 w 1484"/>
              <a:gd name="T3" fmla="*/ 713 h 1484"/>
              <a:gd name="T4" fmla="*/ 1139 w 1484"/>
              <a:gd name="T5" fmla="*/ 345 h 1484"/>
              <a:gd name="T6" fmla="*/ 771 w 1484"/>
              <a:gd name="T7" fmla="*/ 179 h 1484"/>
              <a:gd name="T8" fmla="*/ 771 w 1484"/>
              <a:gd name="T9" fmla="*/ 34 h 1484"/>
              <a:gd name="T10" fmla="*/ 737 w 1484"/>
              <a:gd name="T11" fmla="*/ 0 h 1484"/>
              <a:gd name="T12" fmla="*/ 703 w 1484"/>
              <a:gd name="T13" fmla="*/ 34 h 1484"/>
              <a:gd name="T14" fmla="*/ 703 w 1484"/>
              <a:gd name="T15" fmla="*/ 179 h 1484"/>
              <a:gd name="T16" fmla="*/ 340 w 1484"/>
              <a:gd name="T17" fmla="*/ 345 h 1484"/>
              <a:gd name="T18" fmla="*/ 175 w 1484"/>
              <a:gd name="T19" fmla="*/ 713 h 1484"/>
              <a:gd name="T20" fmla="*/ 34 w 1484"/>
              <a:gd name="T21" fmla="*/ 713 h 1484"/>
              <a:gd name="T22" fmla="*/ 0 w 1484"/>
              <a:gd name="T23" fmla="*/ 747 h 1484"/>
              <a:gd name="T24" fmla="*/ 34 w 1484"/>
              <a:gd name="T25" fmla="*/ 781 h 1484"/>
              <a:gd name="T26" fmla="*/ 175 w 1484"/>
              <a:gd name="T27" fmla="*/ 781 h 1484"/>
              <a:gd name="T28" fmla="*/ 337 w 1484"/>
              <a:gd name="T29" fmla="*/ 1148 h 1484"/>
              <a:gd name="T30" fmla="*/ 703 w 1484"/>
              <a:gd name="T31" fmla="*/ 1312 h 1484"/>
              <a:gd name="T32" fmla="*/ 703 w 1484"/>
              <a:gd name="T33" fmla="*/ 1450 h 1484"/>
              <a:gd name="T34" fmla="*/ 737 w 1484"/>
              <a:gd name="T35" fmla="*/ 1484 h 1484"/>
              <a:gd name="T36" fmla="*/ 771 w 1484"/>
              <a:gd name="T37" fmla="*/ 1450 h 1484"/>
              <a:gd name="T38" fmla="*/ 771 w 1484"/>
              <a:gd name="T39" fmla="*/ 1312 h 1484"/>
              <a:gd name="T40" fmla="*/ 1308 w 1484"/>
              <a:gd name="T41" fmla="*/ 781 h 1484"/>
              <a:gd name="T42" fmla="*/ 1450 w 1484"/>
              <a:gd name="T43" fmla="*/ 781 h 1484"/>
              <a:gd name="T44" fmla="*/ 1484 w 1484"/>
              <a:gd name="T45" fmla="*/ 747 h 1484"/>
              <a:gd name="T46" fmla="*/ 1450 w 1484"/>
              <a:gd name="T47" fmla="*/ 713 h 1484"/>
              <a:gd name="T48" fmla="*/ 771 w 1484"/>
              <a:gd name="T49" fmla="*/ 713 h 1484"/>
              <a:gd name="T50" fmla="*/ 771 w 1484"/>
              <a:gd name="T51" fmla="*/ 511 h 1484"/>
              <a:gd name="T52" fmla="*/ 976 w 1484"/>
              <a:gd name="T53" fmla="*/ 713 h 1484"/>
              <a:gd name="T54" fmla="*/ 771 w 1484"/>
              <a:gd name="T55" fmla="*/ 713 h 1484"/>
              <a:gd name="T56" fmla="*/ 1045 w 1484"/>
              <a:gd name="T57" fmla="*/ 713 h 1484"/>
              <a:gd name="T58" fmla="*/ 771 w 1484"/>
              <a:gd name="T59" fmla="*/ 442 h 1484"/>
              <a:gd name="T60" fmla="*/ 771 w 1484"/>
              <a:gd name="T61" fmla="*/ 247 h 1484"/>
              <a:gd name="T62" fmla="*/ 1240 w 1484"/>
              <a:gd name="T63" fmla="*/ 713 h 1484"/>
              <a:gd name="T64" fmla="*/ 1045 w 1484"/>
              <a:gd name="T65" fmla="*/ 713 h 1484"/>
              <a:gd name="T66" fmla="*/ 771 w 1484"/>
              <a:gd name="T67" fmla="*/ 981 h 1484"/>
              <a:gd name="T68" fmla="*/ 771 w 1484"/>
              <a:gd name="T69" fmla="*/ 781 h 1484"/>
              <a:gd name="T70" fmla="*/ 977 w 1484"/>
              <a:gd name="T71" fmla="*/ 781 h 1484"/>
              <a:gd name="T72" fmla="*/ 771 w 1484"/>
              <a:gd name="T73" fmla="*/ 981 h 1484"/>
              <a:gd name="T74" fmla="*/ 771 w 1484"/>
              <a:gd name="T75" fmla="*/ 1244 h 1484"/>
              <a:gd name="T76" fmla="*/ 771 w 1484"/>
              <a:gd name="T77" fmla="*/ 1049 h 1484"/>
              <a:gd name="T78" fmla="*/ 1046 w 1484"/>
              <a:gd name="T79" fmla="*/ 781 h 1484"/>
              <a:gd name="T80" fmla="*/ 1240 w 1484"/>
              <a:gd name="T81" fmla="*/ 781 h 1484"/>
              <a:gd name="T82" fmla="*/ 771 w 1484"/>
              <a:gd name="T83" fmla="*/ 1244 h 1484"/>
              <a:gd name="T84" fmla="*/ 703 w 1484"/>
              <a:gd name="T85" fmla="*/ 247 h 1484"/>
              <a:gd name="T86" fmla="*/ 703 w 1484"/>
              <a:gd name="T87" fmla="*/ 442 h 1484"/>
              <a:gd name="T88" fmla="*/ 438 w 1484"/>
              <a:gd name="T89" fmla="*/ 713 h 1484"/>
              <a:gd name="T90" fmla="*/ 244 w 1484"/>
              <a:gd name="T91" fmla="*/ 713 h 1484"/>
              <a:gd name="T92" fmla="*/ 703 w 1484"/>
              <a:gd name="T93" fmla="*/ 247 h 1484"/>
              <a:gd name="T94" fmla="*/ 703 w 1484"/>
              <a:gd name="T95" fmla="*/ 781 h 1484"/>
              <a:gd name="T96" fmla="*/ 703 w 1484"/>
              <a:gd name="T97" fmla="*/ 981 h 1484"/>
              <a:gd name="T98" fmla="*/ 506 w 1484"/>
              <a:gd name="T99" fmla="*/ 781 h 1484"/>
              <a:gd name="T100" fmla="*/ 703 w 1484"/>
              <a:gd name="T101" fmla="*/ 781 h 1484"/>
              <a:gd name="T102" fmla="*/ 438 w 1484"/>
              <a:gd name="T103" fmla="*/ 781 h 1484"/>
              <a:gd name="T104" fmla="*/ 703 w 1484"/>
              <a:gd name="T105" fmla="*/ 1049 h 1484"/>
              <a:gd name="T106" fmla="*/ 703 w 1484"/>
              <a:gd name="T107" fmla="*/ 1244 h 1484"/>
              <a:gd name="T108" fmla="*/ 243 w 1484"/>
              <a:gd name="T109" fmla="*/ 781 h 1484"/>
              <a:gd name="T110" fmla="*/ 438 w 1484"/>
              <a:gd name="T111" fmla="*/ 781 h 1484"/>
              <a:gd name="T112" fmla="*/ 703 w 1484"/>
              <a:gd name="T113" fmla="*/ 511 h 1484"/>
              <a:gd name="T114" fmla="*/ 703 w 1484"/>
              <a:gd name="T115" fmla="*/ 713 h 1484"/>
              <a:gd name="T116" fmla="*/ 507 w 1484"/>
              <a:gd name="T117" fmla="*/ 713 h 1484"/>
              <a:gd name="T118" fmla="*/ 703 w 1484"/>
              <a:gd name="T119" fmla="*/ 5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84" h="1484">
                <a:moveTo>
                  <a:pt x="1450" y="713"/>
                </a:moveTo>
                <a:cubicBezTo>
                  <a:pt x="1308" y="713"/>
                  <a:pt x="1308" y="713"/>
                  <a:pt x="1308" y="713"/>
                </a:cubicBezTo>
                <a:cubicBezTo>
                  <a:pt x="1299" y="574"/>
                  <a:pt x="1239" y="444"/>
                  <a:pt x="1139" y="345"/>
                </a:cubicBezTo>
                <a:cubicBezTo>
                  <a:pt x="1039" y="246"/>
                  <a:pt x="909" y="187"/>
                  <a:pt x="771" y="179"/>
                </a:cubicBezTo>
                <a:cubicBezTo>
                  <a:pt x="771" y="34"/>
                  <a:pt x="771" y="34"/>
                  <a:pt x="771" y="34"/>
                </a:cubicBezTo>
                <a:cubicBezTo>
                  <a:pt x="771" y="15"/>
                  <a:pt x="756" y="0"/>
                  <a:pt x="737" y="0"/>
                </a:cubicBezTo>
                <a:cubicBezTo>
                  <a:pt x="718" y="0"/>
                  <a:pt x="703" y="15"/>
                  <a:pt x="703" y="34"/>
                </a:cubicBezTo>
                <a:cubicBezTo>
                  <a:pt x="703" y="179"/>
                  <a:pt x="703" y="179"/>
                  <a:pt x="703" y="179"/>
                </a:cubicBezTo>
                <a:cubicBezTo>
                  <a:pt x="566" y="187"/>
                  <a:pt x="437" y="246"/>
                  <a:pt x="340" y="345"/>
                </a:cubicBezTo>
                <a:cubicBezTo>
                  <a:pt x="242" y="443"/>
                  <a:pt x="184" y="574"/>
                  <a:pt x="175" y="713"/>
                </a:cubicBezTo>
                <a:cubicBezTo>
                  <a:pt x="34" y="713"/>
                  <a:pt x="34" y="713"/>
                  <a:pt x="34" y="713"/>
                </a:cubicBezTo>
                <a:cubicBezTo>
                  <a:pt x="15" y="713"/>
                  <a:pt x="0" y="728"/>
                  <a:pt x="0" y="747"/>
                </a:cubicBezTo>
                <a:cubicBezTo>
                  <a:pt x="0" y="766"/>
                  <a:pt x="15" y="781"/>
                  <a:pt x="34" y="781"/>
                </a:cubicBezTo>
                <a:cubicBezTo>
                  <a:pt x="175" y="781"/>
                  <a:pt x="175" y="781"/>
                  <a:pt x="175" y="781"/>
                </a:cubicBezTo>
                <a:cubicBezTo>
                  <a:pt x="182" y="920"/>
                  <a:pt x="239" y="1050"/>
                  <a:pt x="337" y="1148"/>
                </a:cubicBezTo>
                <a:cubicBezTo>
                  <a:pt x="434" y="1246"/>
                  <a:pt x="564" y="1304"/>
                  <a:pt x="703" y="1312"/>
                </a:cubicBezTo>
                <a:cubicBezTo>
                  <a:pt x="703" y="1450"/>
                  <a:pt x="703" y="1450"/>
                  <a:pt x="703" y="1450"/>
                </a:cubicBezTo>
                <a:cubicBezTo>
                  <a:pt x="703" y="1469"/>
                  <a:pt x="718" y="1484"/>
                  <a:pt x="737" y="1484"/>
                </a:cubicBezTo>
                <a:cubicBezTo>
                  <a:pt x="756" y="1484"/>
                  <a:pt x="771" y="1469"/>
                  <a:pt x="771" y="1450"/>
                </a:cubicBezTo>
                <a:cubicBezTo>
                  <a:pt x="771" y="1312"/>
                  <a:pt x="771" y="1312"/>
                  <a:pt x="771" y="1312"/>
                </a:cubicBezTo>
                <a:cubicBezTo>
                  <a:pt x="1062" y="1295"/>
                  <a:pt x="1293" y="1067"/>
                  <a:pt x="1308" y="781"/>
                </a:cubicBezTo>
                <a:cubicBezTo>
                  <a:pt x="1450" y="781"/>
                  <a:pt x="1450" y="781"/>
                  <a:pt x="1450" y="781"/>
                </a:cubicBezTo>
                <a:cubicBezTo>
                  <a:pt x="1468" y="781"/>
                  <a:pt x="1484" y="766"/>
                  <a:pt x="1484" y="747"/>
                </a:cubicBezTo>
                <a:cubicBezTo>
                  <a:pt x="1484" y="728"/>
                  <a:pt x="1468" y="713"/>
                  <a:pt x="1450" y="713"/>
                </a:cubicBezTo>
                <a:close/>
                <a:moveTo>
                  <a:pt x="771" y="713"/>
                </a:moveTo>
                <a:cubicBezTo>
                  <a:pt x="771" y="511"/>
                  <a:pt x="771" y="511"/>
                  <a:pt x="771" y="511"/>
                </a:cubicBezTo>
                <a:cubicBezTo>
                  <a:pt x="874" y="526"/>
                  <a:pt x="959" y="610"/>
                  <a:pt x="976" y="713"/>
                </a:cubicBezTo>
                <a:lnTo>
                  <a:pt x="771" y="713"/>
                </a:lnTo>
                <a:close/>
                <a:moveTo>
                  <a:pt x="1045" y="713"/>
                </a:moveTo>
                <a:cubicBezTo>
                  <a:pt x="1027" y="573"/>
                  <a:pt x="911" y="458"/>
                  <a:pt x="771" y="442"/>
                </a:cubicBezTo>
                <a:cubicBezTo>
                  <a:pt x="771" y="247"/>
                  <a:pt x="771" y="247"/>
                  <a:pt x="771" y="247"/>
                </a:cubicBezTo>
                <a:cubicBezTo>
                  <a:pt x="1020" y="264"/>
                  <a:pt x="1221" y="464"/>
                  <a:pt x="1240" y="713"/>
                </a:cubicBezTo>
                <a:lnTo>
                  <a:pt x="1045" y="713"/>
                </a:lnTo>
                <a:close/>
                <a:moveTo>
                  <a:pt x="771" y="981"/>
                </a:moveTo>
                <a:cubicBezTo>
                  <a:pt x="771" y="781"/>
                  <a:pt x="771" y="781"/>
                  <a:pt x="771" y="781"/>
                </a:cubicBezTo>
                <a:cubicBezTo>
                  <a:pt x="977" y="781"/>
                  <a:pt x="977" y="781"/>
                  <a:pt x="977" y="781"/>
                </a:cubicBezTo>
                <a:cubicBezTo>
                  <a:pt x="963" y="882"/>
                  <a:pt x="877" y="966"/>
                  <a:pt x="771" y="981"/>
                </a:cubicBezTo>
                <a:close/>
                <a:moveTo>
                  <a:pt x="771" y="1244"/>
                </a:moveTo>
                <a:cubicBezTo>
                  <a:pt x="771" y="1049"/>
                  <a:pt x="771" y="1049"/>
                  <a:pt x="771" y="1049"/>
                </a:cubicBezTo>
                <a:cubicBezTo>
                  <a:pt x="915" y="1034"/>
                  <a:pt x="1031" y="920"/>
                  <a:pt x="1046" y="781"/>
                </a:cubicBezTo>
                <a:cubicBezTo>
                  <a:pt x="1240" y="781"/>
                  <a:pt x="1240" y="781"/>
                  <a:pt x="1240" y="781"/>
                </a:cubicBezTo>
                <a:cubicBezTo>
                  <a:pt x="1225" y="1029"/>
                  <a:pt x="1024" y="1227"/>
                  <a:pt x="771" y="1244"/>
                </a:cubicBezTo>
                <a:close/>
                <a:moveTo>
                  <a:pt x="703" y="247"/>
                </a:moveTo>
                <a:cubicBezTo>
                  <a:pt x="703" y="442"/>
                  <a:pt x="703" y="442"/>
                  <a:pt x="703" y="442"/>
                </a:cubicBezTo>
                <a:cubicBezTo>
                  <a:pt x="565" y="458"/>
                  <a:pt x="456" y="570"/>
                  <a:pt x="438" y="713"/>
                </a:cubicBezTo>
                <a:cubicBezTo>
                  <a:pt x="244" y="713"/>
                  <a:pt x="244" y="713"/>
                  <a:pt x="244" y="713"/>
                </a:cubicBezTo>
                <a:cubicBezTo>
                  <a:pt x="262" y="464"/>
                  <a:pt x="459" y="264"/>
                  <a:pt x="703" y="247"/>
                </a:cubicBezTo>
                <a:close/>
                <a:moveTo>
                  <a:pt x="703" y="781"/>
                </a:moveTo>
                <a:cubicBezTo>
                  <a:pt x="703" y="981"/>
                  <a:pt x="703" y="981"/>
                  <a:pt x="703" y="981"/>
                </a:cubicBezTo>
                <a:cubicBezTo>
                  <a:pt x="600" y="966"/>
                  <a:pt x="519" y="884"/>
                  <a:pt x="506" y="781"/>
                </a:cubicBezTo>
                <a:lnTo>
                  <a:pt x="703" y="781"/>
                </a:lnTo>
                <a:close/>
                <a:moveTo>
                  <a:pt x="438" y="781"/>
                </a:moveTo>
                <a:cubicBezTo>
                  <a:pt x="452" y="922"/>
                  <a:pt x="562" y="1034"/>
                  <a:pt x="703" y="1049"/>
                </a:cubicBezTo>
                <a:cubicBezTo>
                  <a:pt x="703" y="1244"/>
                  <a:pt x="703" y="1244"/>
                  <a:pt x="703" y="1244"/>
                </a:cubicBezTo>
                <a:cubicBezTo>
                  <a:pt x="455" y="1227"/>
                  <a:pt x="258" y="1029"/>
                  <a:pt x="243" y="781"/>
                </a:cubicBezTo>
                <a:lnTo>
                  <a:pt x="438" y="781"/>
                </a:lnTo>
                <a:close/>
                <a:moveTo>
                  <a:pt x="703" y="511"/>
                </a:moveTo>
                <a:cubicBezTo>
                  <a:pt x="703" y="713"/>
                  <a:pt x="703" y="713"/>
                  <a:pt x="703" y="713"/>
                </a:cubicBezTo>
                <a:cubicBezTo>
                  <a:pt x="507" y="713"/>
                  <a:pt x="507" y="713"/>
                  <a:pt x="507" y="713"/>
                </a:cubicBezTo>
                <a:cubicBezTo>
                  <a:pt x="523" y="607"/>
                  <a:pt x="602" y="525"/>
                  <a:pt x="703" y="5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1" name="Rectangle 80"/>
          <p:cNvSpPr/>
          <p:nvPr/>
        </p:nvSpPr>
        <p:spPr>
          <a:xfrm>
            <a:off x="8051800" y="4320829"/>
            <a:ext cx="4140200" cy="2292661"/>
          </a:xfrm>
          <a:prstGeom prst="rect">
            <a:avLst/>
          </a:prstGeom>
          <a:solidFill>
            <a:schemeClr val="bg1">
              <a:lumMod val="85000"/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8630916" y="5702331"/>
            <a:ext cx="3025778" cy="61555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pt-BR" sz="2000">
                <a:latin typeface="Century Gothic" panose="020B0502020202020204" pitchFamily="34" charset="0"/>
              </a:rPr>
              <a:t>Em que precisamos avançar?</a:t>
            </a: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8407533" y="4664748"/>
            <a:ext cx="3472544" cy="9971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3600" b="1">
                <a:gradFill flip="none" rotWithShape="1">
                  <a:gsLst>
                    <a:gs pos="0">
                      <a:srgbClr val="285066"/>
                    </a:gs>
                    <a:gs pos="45000">
                      <a:srgbClr val="366C89"/>
                    </a:gs>
                    <a:gs pos="100000">
                      <a:srgbClr val="EF7D4F"/>
                    </a:gs>
                  </a:gsLst>
                  <a:lin ang="0" scaled="1"/>
                  <a:tileRect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ERSPECTIVAS E DESAFIOS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8416663" y="6358271"/>
            <a:ext cx="3454284" cy="0"/>
          </a:xfrm>
          <a:prstGeom prst="line">
            <a:avLst/>
          </a:prstGeom>
          <a:ln w="12700" cap="rnd">
            <a:gradFill>
              <a:gsLst>
                <a:gs pos="0">
                  <a:srgbClr val="295268"/>
                </a:gs>
                <a:gs pos="54000">
                  <a:srgbClr val="366C89"/>
                </a:gs>
                <a:gs pos="100000">
                  <a:srgbClr val="EA7D5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>
            <a:off x="8416663" y="4576047"/>
            <a:ext cx="3454284" cy="0"/>
          </a:xfrm>
          <a:prstGeom prst="line">
            <a:avLst/>
          </a:prstGeom>
          <a:ln w="12700" cap="rnd">
            <a:gradFill>
              <a:gsLst>
                <a:gs pos="0">
                  <a:srgbClr val="295268"/>
                </a:gs>
                <a:gs pos="54000">
                  <a:srgbClr val="366C89"/>
                </a:gs>
                <a:gs pos="100000">
                  <a:srgbClr val="EA7D5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/>
          <p:cNvGrpSpPr/>
          <p:nvPr/>
        </p:nvGrpSpPr>
        <p:grpSpPr>
          <a:xfrm>
            <a:off x="5504411" y="4073179"/>
            <a:ext cx="285750" cy="247650"/>
            <a:chOff x="4892675" y="1935163"/>
            <a:chExt cx="285750" cy="247650"/>
          </a:xfrm>
          <a:solidFill>
            <a:schemeClr val="bg1"/>
          </a:solidFill>
        </p:grpSpPr>
        <p:sp>
          <p:nvSpPr>
            <p:cNvPr id="34" name="Freeform 185"/>
            <p:cNvSpPr>
              <a:spLocks noEditPoints="1"/>
            </p:cNvSpPr>
            <p:nvPr/>
          </p:nvSpPr>
          <p:spPr bwMode="auto">
            <a:xfrm>
              <a:off x="4892675" y="2020888"/>
              <a:ext cx="66675" cy="114300"/>
            </a:xfrm>
            <a:custGeom>
              <a:avLst/>
              <a:gdLst>
                <a:gd name="T0" fmla="*/ 30 w 210"/>
                <a:gd name="T1" fmla="*/ 30 h 360"/>
                <a:gd name="T2" fmla="*/ 180 w 210"/>
                <a:gd name="T3" fmla="*/ 30 h 360"/>
                <a:gd name="T4" fmla="*/ 180 w 210"/>
                <a:gd name="T5" fmla="*/ 123 h 360"/>
                <a:gd name="T6" fmla="*/ 180 w 210"/>
                <a:gd name="T7" fmla="*/ 135 h 360"/>
                <a:gd name="T8" fmla="*/ 180 w 210"/>
                <a:gd name="T9" fmla="*/ 146 h 360"/>
                <a:gd name="T10" fmla="*/ 179 w 210"/>
                <a:gd name="T11" fmla="*/ 157 h 360"/>
                <a:gd name="T12" fmla="*/ 177 w 210"/>
                <a:gd name="T13" fmla="*/ 167 h 360"/>
                <a:gd name="T14" fmla="*/ 174 w 210"/>
                <a:gd name="T15" fmla="*/ 175 h 360"/>
                <a:gd name="T16" fmla="*/ 171 w 210"/>
                <a:gd name="T17" fmla="*/ 178 h 360"/>
                <a:gd name="T18" fmla="*/ 168 w 210"/>
                <a:gd name="T19" fmla="*/ 180 h 360"/>
                <a:gd name="T20" fmla="*/ 165 w 210"/>
                <a:gd name="T21" fmla="*/ 180 h 360"/>
                <a:gd name="T22" fmla="*/ 150 w 210"/>
                <a:gd name="T23" fmla="*/ 180 h 360"/>
                <a:gd name="T24" fmla="*/ 150 w 210"/>
                <a:gd name="T25" fmla="*/ 330 h 360"/>
                <a:gd name="T26" fmla="*/ 60 w 210"/>
                <a:gd name="T27" fmla="*/ 330 h 360"/>
                <a:gd name="T28" fmla="*/ 60 w 210"/>
                <a:gd name="T29" fmla="*/ 180 h 360"/>
                <a:gd name="T30" fmla="*/ 45 w 210"/>
                <a:gd name="T31" fmla="*/ 180 h 360"/>
                <a:gd name="T32" fmla="*/ 40 w 210"/>
                <a:gd name="T33" fmla="*/ 179 h 360"/>
                <a:gd name="T34" fmla="*/ 38 w 210"/>
                <a:gd name="T35" fmla="*/ 178 h 360"/>
                <a:gd name="T36" fmla="*/ 35 w 210"/>
                <a:gd name="T37" fmla="*/ 173 h 360"/>
                <a:gd name="T38" fmla="*/ 33 w 210"/>
                <a:gd name="T39" fmla="*/ 168 h 360"/>
                <a:gd name="T40" fmla="*/ 32 w 210"/>
                <a:gd name="T41" fmla="*/ 162 h 360"/>
                <a:gd name="T42" fmla="*/ 31 w 210"/>
                <a:gd name="T43" fmla="*/ 154 h 360"/>
                <a:gd name="T44" fmla="*/ 30 w 210"/>
                <a:gd name="T45" fmla="*/ 138 h 360"/>
                <a:gd name="T46" fmla="*/ 30 w 210"/>
                <a:gd name="T47" fmla="*/ 123 h 360"/>
                <a:gd name="T48" fmla="*/ 30 w 210"/>
                <a:gd name="T49" fmla="*/ 30 h 360"/>
                <a:gd name="T50" fmla="*/ 0 w 210"/>
                <a:gd name="T51" fmla="*/ 123 h 360"/>
                <a:gd name="T52" fmla="*/ 0 w 210"/>
                <a:gd name="T53" fmla="*/ 143 h 360"/>
                <a:gd name="T54" fmla="*/ 2 w 210"/>
                <a:gd name="T55" fmla="*/ 164 h 360"/>
                <a:gd name="T56" fmla="*/ 4 w 210"/>
                <a:gd name="T57" fmla="*/ 175 h 360"/>
                <a:gd name="T58" fmla="*/ 7 w 210"/>
                <a:gd name="T59" fmla="*/ 183 h 360"/>
                <a:gd name="T60" fmla="*/ 12 w 210"/>
                <a:gd name="T61" fmla="*/ 192 h 360"/>
                <a:gd name="T62" fmla="*/ 17 w 210"/>
                <a:gd name="T63" fmla="*/ 199 h 360"/>
                <a:gd name="T64" fmla="*/ 23 w 210"/>
                <a:gd name="T65" fmla="*/ 203 h 360"/>
                <a:gd name="T66" fmla="*/ 30 w 210"/>
                <a:gd name="T67" fmla="*/ 208 h 360"/>
                <a:gd name="T68" fmla="*/ 30 w 210"/>
                <a:gd name="T69" fmla="*/ 360 h 360"/>
                <a:gd name="T70" fmla="*/ 180 w 210"/>
                <a:gd name="T71" fmla="*/ 360 h 360"/>
                <a:gd name="T72" fmla="*/ 180 w 210"/>
                <a:gd name="T73" fmla="*/ 208 h 360"/>
                <a:gd name="T74" fmla="*/ 184 w 210"/>
                <a:gd name="T75" fmla="*/ 206 h 360"/>
                <a:gd name="T76" fmla="*/ 187 w 210"/>
                <a:gd name="T77" fmla="*/ 203 h 360"/>
                <a:gd name="T78" fmla="*/ 192 w 210"/>
                <a:gd name="T79" fmla="*/ 200 h 360"/>
                <a:gd name="T80" fmla="*/ 195 w 210"/>
                <a:gd name="T81" fmla="*/ 197 h 360"/>
                <a:gd name="T82" fmla="*/ 198 w 210"/>
                <a:gd name="T83" fmla="*/ 193 h 360"/>
                <a:gd name="T84" fmla="*/ 201 w 210"/>
                <a:gd name="T85" fmla="*/ 187 h 360"/>
                <a:gd name="T86" fmla="*/ 203 w 210"/>
                <a:gd name="T87" fmla="*/ 181 h 360"/>
                <a:gd name="T88" fmla="*/ 206 w 210"/>
                <a:gd name="T89" fmla="*/ 175 h 360"/>
                <a:gd name="T90" fmla="*/ 209 w 210"/>
                <a:gd name="T91" fmla="*/ 162 h 360"/>
                <a:gd name="T92" fmla="*/ 210 w 210"/>
                <a:gd name="T93" fmla="*/ 149 h 360"/>
                <a:gd name="T94" fmla="*/ 210 w 210"/>
                <a:gd name="T95" fmla="*/ 136 h 360"/>
                <a:gd name="T96" fmla="*/ 210 w 210"/>
                <a:gd name="T97" fmla="*/ 123 h 360"/>
                <a:gd name="T98" fmla="*/ 210 w 210"/>
                <a:gd name="T99" fmla="*/ 0 h 360"/>
                <a:gd name="T100" fmla="*/ 0 w 210"/>
                <a:gd name="T101" fmla="*/ 0 h 360"/>
                <a:gd name="T102" fmla="*/ 0 w 210"/>
                <a:gd name="T103" fmla="*/ 123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0" h="360">
                  <a:moveTo>
                    <a:pt x="30" y="30"/>
                  </a:moveTo>
                  <a:lnTo>
                    <a:pt x="180" y="30"/>
                  </a:lnTo>
                  <a:lnTo>
                    <a:pt x="180" y="123"/>
                  </a:lnTo>
                  <a:lnTo>
                    <a:pt x="180" y="135"/>
                  </a:lnTo>
                  <a:lnTo>
                    <a:pt x="180" y="146"/>
                  </a:lnTo>
                  <a:lnTo>
                    <a:pt x="179" y="157"/>
                  </a:lnTo>
                  <a:lnTo>
                    <a:pt x="177" y="167"/>
                  </a:lnTo>
                  <a:lnTo>
                    <a:pt x="174" y="175"/>
                  </a:lnTo>
                  <a:lnTo>
                    <a:pt x="171" y="178"/>
                  </a:lnTo>
                  <a:lnTo>
                    <a:pt x="168" y="180"/>
                  </a:lnTo>
                  <a:lnTo>
                    <a:pt x="165" y="180"/>
                  </a:lnTo>
                  <a:lnTo>
                    <a:pt x="150" y="180"/>
                  </a:lnTo>
                  <a:lnTo>
                    <a:pt x="150" y="330"/>
                  </a:lnTo>
                  <a:lnTo>
                    <a:pt x="60" y="330"/>
                  </a:lnTo>
                  <a:lnTo>
                    <a:pt x="60" y="180"/>
                  </a:lnTo>
                  <a:lnTo>
                    <a:pt x="45" y="180"/>
                  </a:lnTo>
                  <a:lnTo>
                    <a:pt x="40" y="179"/>
                  </a:lnTo>
                  <a:lnTo>
                    <a:pt x="38" y="178"/>
                  </a:lnTo>
                  <a:lnTo>
                    <a:pt x="35" y="173"/>
                  </a:lnTo>
                  <a:lnTo>
                    <a:pt x="33" y="168"/>
                  </a:lnTo>
                  <a:lnTo>
                    <a:pt x="32" y="162"/>
                  </a:lnTo>
                  <a:lnTo>
                    <a:pt x="31" y="154"/>
                  </a:lnTo>
                  <a:lnTo>
                    <a:pt x="30" y="138"/>
                  </a:lnTo>
                  <a:lnTo>
                    <a:pt x="30" y="123"/>
                  </a:lnTo>
                  <a:lnTo>
                    <a:pt x="30" y="30"/>
                  </a:lnTo>
                  <a:close/>
                  <a:moveTo>
                    <a:pt x="0" y="123"/>
                  </a:moveTo>
                  <a:lnTo>
                    <a:pt x="0" y="143"/>
                  </a:lnTo>
                  <a:lnTo>
                    <a:pt x="2" y="164"/>
                  </a:lnTo>
                  <a:lnTo>
                    <a:pt x="4" y="175"/>
                  </a:lnTo>
                  <a:lnTo>
                    <a:pt x="7" y="183"/>
                  </a:lnTo>
                  <a:lnTo>
                    <a:pt x="12" y="192"/>
                  </a:lnTo>
                  <a:lnTo>
                    <a:pt x="17" y="199"/>
                  </a:lnTo>
                  <a:lnTo>
                    <a:pt x="23" y="203"/>
                  </a:lnTo>
                  <a:lnTo>
                    <a:pt x="30" y="208"/>
                  </a:lnTo>
                  <a:lnTo>
                    <a:pt x="30" y="360"/>
                  </a:lnTo>
                  <a:lnTo>
                    <a:pt x="180" y="360"/>
                  </a:lnTo>
                  <a:lnTo>
                    <a:pt x="180" y="208"/>
                  </a:lnTo>
                  <a:lnTo>
                    <a:pt x="184" y="206"/>
                  </a:lnTo>
                  <a:lnTo>
                    <a:pt x="187" y="203"/>
                  </a:lnTo>
                  <a:lnTo>
                    <a:pt x="192" y="200"/>
                  </a:lnTo>
                  <a:lnTo>
                    <a:pt x="195" y="197"/>
                  </a:lnTo>
                  <a:lnTo>
                    <a:pt x="198" y="193"/>
                  </a:lnTo>
                  <a:lnTo>
                    <a:pt x="201" y="187"/>
                  </a:lnTo>
                  <a:lnTo>
                    <a:pt x="203" y="181"/>
                  </a:lnTo>
                  <a:lnTo>
                    <a:pt x="206" y="175"/>
                  </a:lnTo>
                  <a:lnTo>
                    <a:pt x="209" y="162"/>
                  </a:lnTo>
                  <a:lnTo>
                    <a:pt x="210" y="149"/>
                  </a:lnTo>
                  <a:lnTo>
                    <a:pt x="210" y="136"/>
                  </a:lnTo>
                  <a:lnTo>
                    <a:pt x="210" y="123"/>
                  </a:lnTo>
                  <a:lnTo>
                    <a:pt x="210" y="0"/>
                  </a:lnTo>
                  <a:lnTo>
                    <a:pt x="0" y="0"/>
                  </a:lnTo>
                  <a:lnTo>
                    <a:pt x="0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" name="Freeform 186"/>
            <p:cNvSpPr>
              <a:spLocks noEditPoints="1"/>
            </p:cNvSpPr>
            <p:nvPr/>
          </p:nvSpPr>
          <p:spPr bwMode="auto">
            <a:xfrm>
              <a:off x="5111750" y="2020888"/>
              <a:ext cx="66675" cy="114300"/>
            </a:xfrm>
            <a:custGeom>
              <a:avLst/>
              <a:gdLst>
                <a:gd name="T0" fmla="*/ 181 w 212"/>
                <a:gd name="T1" fmla="*/ 120 h 360"/>
                <a:gd name="T2" fmla="*/ 180 w 212"/>
                <a:gd name="T3" fmla="*/ 130 h 360"/>
                <a:gd name="T4" fmla="*/ 179 w 212"/>
                <a:gd name="T5" fmla="*/ 138 h 360"/>
                <a:gd name="T6" fmla="*/ 177 w 212"/>
                <a:gd name="T7" fmla="*/ 146 h 360"/>
                <a:gd name="T8" fmla="*/ 175 w 212"/>
                <a:gd name="T9" fmla="*/ 152 h 360"/>
                <a:gd name="T10" fmla="*/ 173 w 212"/>
                <a:gd name="T11" fmla="*/ 157 h 360"/>
                <a:gd name="T12" fmla="*/ 170 w 212"/>
                <a:gd name="T13" fmla="*/ 161 h 360"/>
                <a:gd name="T14" fmla="*/ 168 w 212"/>
                <a:gd name="T15" fmla="*/ 164 h 360"/>
                <a:gd name="T16" fmla="*/ 166 w 212"/>
                <a:gd name="T17" fmla="*/ 165 h 360"/>
                <a:gd name="T18" fmla="*/ 151 w 212"/>
                <a:gd name="T19" fmla="*/ 165 h 360"/>
                <a:gd name="T20" fmla="*/ 151 w 212"/>
                <a:gd name="T21" fmla="*/ 330 h 360"/>
                <a:gd name="T22" fmla="*/ 60 w 212"/>
                <a:gd name="T23" fmla="*/ 330 h 360"/>
                <a:gd name="T24" fmla="*/ 60 w 212"/>
                <a:gd name="T25" fmla="*/ 180 h 360"/>
                <a:gd name="T26" fmla="*/ 59 w 212"/>
                <a:gd name="T27" fmla="*/ 166 h 360"/>
                <a:gd name="T28" fmla="*/ 45 w 212"/>
                <a:gd name="T29" fmla="*/ 165 h 360"/>
                <a:gd name="T30" fmla="*/ 44 w 212"/>
                <a:gd name="T31" fmla="*/ 164 h 360"/>
                <a:gd name="T32" fmla="*/ 42 w 212"/>
                <a:gd name="T33" fmla="*/ 162 h 360"/>
                <a:gd name="T34" fmla="*/ 40 w 212"/>
                <a:gd name="T35" fmla="*/ 158 h 360"/>
                <a:gd name="T36" fmla="*/ 37 w 212"/>
                <a:gd name="T37" fmla="*/ 154 h 360"/>
                <a:gd name="T38" fmla="*/ 35 w 212"/>
                <a:gd name="T39" fmla="*/ 148 h 360"/>
                <a:gd name="T40" fmla="*/ 32 w 212"/>
                <a:gd name="T41" fmla="*/ 139 h 360"/>
                <a:gd name="T42" fmla="*/ 31 w 212"/>
                <a:gd name="T43" fmla="*/ 131 h 360"/>
                <a:gd name="T44" fmla="*/ 30 w 212"/>
                <a:gd name="T45" fmla="*/ 120 h 360"/>
                <a:gd name="T46" fmla="*/ 30 w 212"/>
                <a:gd name="T47" fmla="*/ 30 h 360"/>
                <a:gd name="T48" fmla="*/ 181 w 212"/>
                <a:gd name="T49" fmla="*/ 30 h 360"/>
                <a:gd name="T50" fmla="*/ 181 w 212"/>
                <a:gd name="T51" fmla="*/ 120 h 360"/>
                <a:gd name="T52" fmla="*/ 0 w 212"/>
                <a:gd name="T53" fmla="*/ 0 h 360"/>
                <a:gd name="T54" fmla="*/ 0 w 212"/>
                <a:gd name="T55" fmla="*/ 120 h 360"/>
                <a:gd name="T56" fmla="*/ 1 w 212"/>
                <a:gd name="T57" fmla="*/ 133 h 360"/>
                <a:gd name="T58" fmla="*/ 2 w 212"/>
                <a:gd name="T59" fmla="*/ 145 h 360"/>
                <a:gd name="T60" fmla="*/ 6 w 212"/>
                <a:gd name="T61" fmla="*/ 155 h 360"/>
                <a:gd name="T62" fmla="*/ 9 w 212"/>
                <a:gd name="T63" fmla="*/ 165 h 360"/>
                <a:gd name="T64" fmla="*/ 13 w 212"/>
                <a:gd name="T65" fmla="*/ 173 h 360"/>
                <a:gd name="T66" fmla="*/ 19 w 212"/>
                <a:gd name="T67" fmla="*/ 181 h 360"/>
                <a:gd name="T68" fmla="*/ 24 w 212"/>
                <a:gd name="T69" fmla="*/ 186 h 360"/>
                <a:gd name="T70" fmla="*/ 30 w 212"/>
                <a:gd name="T71" fmla="*/ 192 h 360"/>
                <a:gd name="T72" fmla="*/ 30 w 212"/>
                <a:gd name="T73" fmla="*/ 360 h 360"/>
                <a:gd name="T74" fmla="*/ 181 w 212"/>
                <a:gd name="T75" fmla="*/ 360 h 360"/>
                <a:gd name="T76" fmla="*/ 181 w 212"/>
                <a:gd name="T77" fmla="*/ 191 h 360"/>
                <a:gd name="T78" fmla="*/ 188 w 212"/>
                <a:gd name="T79" fmla="*/ 186 h 360"/>
                <a:gd name="T80" fmla="*/ 194 w 212"/>
                <a:gd name="T81" fmla="*/ 180 h 360"/>
                <a:gd name="T82" fmla="*/ 199 w 212"/>
                <a:gd name="T83" fmla="*/ 171 h 360"/>
                <a:gd name="T84" fmla="*/ 203 w 212"/>
                <a:gd name="T85" fmla="*/ 163 h 360"/>
                <a:gd name="T86" fmla="*/ 207 w 212"/>
                <a:gd name="T87" fmla="*/ 152 h 360"/>
                <a:gd name="T88" fmla="*/ 209 w 212"/>
                <a:gd name="T89" fmla="*/ 142 h 360"/>
                <a:gd name="T90" fmla="*/ 210 w 212"/>
                <a:gd name="T91" fmla="*/ 131 h 360"/>
                <a:gd name="T92" fmla="*/ 212 w 212"/>
                <a:gd name="T93" fmla="*/ 120 h 360"/>
                <a:gd name="T94" fmla="*/ 212 w 212"/>
                <a:gd name="T95" fmla="*/ 0 h 360"/>
                <a:gd name="T96" fmla="*/ 0 w 212"/>
                <a:gd name="T97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2" h="360">
                  <a:moveTo>
                    <a:pt x="181" y="120"/>
                  </a:moveTo>
                  <a:lnTo>
                    <a:pt x="180" y="130"/>
                  </a:lnTo>
                  <a:lnTo>
                    <a:pt x="179" y="138"/>
                  </a:lnTo>
                  <a:lnTo>
                    <a:pt x="177" y="146"/>
                  </a:lnTo>
                  <a:lnTo>
                    <a:pt x="175" y="152"/>
                  </a:lnTo>
                  <a:lnTo>
                    <a:pt x="173" y="157"/>
                  </a:lnTo>
                  <a:lnTo>
                    <a:pt x="170" y="161"/>
                  </a:lnTo>
                  <a:lnTo>
                    <a:pt x="168" y="164"/>
                  </a:lnTo>
                  <a:lnTo>
                    <a:pt x="166" y="165"/>
                  </a:lnTo>
                  <a:lnTo>
                    <a:pt x="151" y="165"/>
                  </a:lnTo>
                  <a:lnTo>
                    <a:pt x="151" y="330"/>
                  </a:lnTo>
                  <a:lnTo>
                    <a:pt x="60" y="330"/>
                  </a:lnTo>
                  <a:lnTo>
                    <a:pt x="60" y="180"/>
                  </a:lnTo>
                  <a:lnTo>
                    <a:pt x="59" y="166"/>
                  </a:lnTo>
                  <a:lnTo>
                    <a:pt x="45" y="165"/>
                  </a:lnTo>
                  <a:lnTo>
                    <a:pt x="44" y="164"/>
                  </a:lnTo>
                  <a:lnTo>
                    <a:pt x="42" y="162"/>
                  </a:lnTo>
                  <a:lnTo>
                    <a:pt x="40" y="158"/>
                  </a:lnTo>
                  <a:lnTo>
                    <a:pt x="37" y="154"/>
                  </a:lnTo>
                  <a:lnTo>
                    <a:pt x="35" y="148"/>
                  </a:lnTo>
                  <a:lnTo>
                    <a:pt x="32" y="139"/>
                  </a:lnTo>
                  <a:lnTo>
                    <a:pt x="31" y="131"/>
                  </a:lnTo>
                  <a:lnTo>
                    <a:pt x="30" y="120"/>
                  </a:lnTo>
                  <a:lnTo>
                    <a:pt x="30" y="30"/>
                  </a:lnTo>
                  <a:lnTo>
                    <a:pt x="181" y="30"/>
                  </a:lnTo>
                  <a:lnTo>
                    <a:pt x="181" y="120"/>
                  </a:lnTo>
                  <a:close/>
                  <a:moveTo>
                    <a:pt x="0" y="0"/>
                  </a:moveTo>
                  <a:lnTo>
                    <a:pt x="0" y="120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6" y="155"/>
                  </a:lnTo>
                  <a:lnTo>
                    <a:pt x="9" y="165"/>
                  </a:lnTo>
                  <a:lnTo>
                    <a:pt x="13" y="173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0" y="192"/>
                  </a:lnTo>
                  <a:lnTo>
                    <a:pt x="30" y="360"/>
                  </a:lnTo>
                  <a:lnTo>
                    <a:pt x="181" y="360"/>
                  </a:lnTo>
                  <a:lnTo>
                    <a:pt x="181" y="191"/>
                  </a:lnTo>
                  <a:lnTo>
                    <a:pt x="188" y="186"/>
                  </a:lnTo>
                  <a:lnTo>
                    <a:pt x="194" y="180"/>
                  </a:lnTo>
                  <a:lnTo>
                    <a:pt x="199" y="171"/>
                  </a:lnTo>
                  <a:lnTo>
                    <a:pt x="203" y="163"/>
                  </a:lnTo>
                  <a:lnTo>
                    <a:pt x="207" y="152"/>
                  </a:lnTo>
                  <a:lnTo>
                    <a:pt x="209" y="142"/>
                  </a:lnTo>
                  <a:lnTo>
                    <a:pt x="210" y="131"/>
                  </a:lnTo>
                  <a:lnTo>
                    <a:pt x="212" y="120"/>
                  </a:lnTo>
                  <a:lnTo>
                    <a:pt x="21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6" name="Freeform 187"/>
            <p:cNvSpPr>
              <a:spLocks noEditPoints="1"/>
            </p:cNvSpPr>
            <p:nvPr/>
          </p:nvSpPr>
          <p:spPr bwMode="auto">
            <a:xfrm>
              <a:off x="4987925" y="2020888"/>
              <a:ext cx="95250" cy="161925"/>
            </a:xfrm>
            <a:custGeom>
              <a:avLst/>
              <a:gdLst>
                <a:gd name="T0" fmla="*/ 270 w 300"/>
                <a:gd name="T1" fmla="*/ 30 h 511"/>
                <a:gd name="T2" fmla="*/ 270 w 300"/>
                <a:gd name="T3" fmla="*/ 218 h 511"/>
                <a:gd name="T4" fmla="*/ 266 w 300"/>
                <a:gd name="T5" fmla="*/ 239 h 511"/>
                <a:gd name="T6" fmla="*/ 259 w 300"/>
                <a:gd name="T7" fmla="*/ 253 h 511"/>
                <a:gd name="T8" fmla="*/ 253 w 300"/>
                <a:gd name="T9" fmla="*/ 260 h 511"/>
                <a:gd name="T10" fmla="*/ 244 w 300"/>
                <a:gd name="T11" fmla="*/ 267 h 511"/>
                <a:gd name="T12" fmla="*/ 233 w 300"/>
                <a:gd name="T13" fmla="*/ 270 h 511"/>
                <a:gd name="T14" fmla="*/ 210 w 300"/>
                <a:gd name="T15" fmla="*/ 270 h 511"/>
                <a:gd name="T16" fmla="*/ 90 w 300"/>
                <a:gd name="T17" fmla="*/ 481 h 511"/>
                <a:gd name="T18" fmla="*/ 75 w 300"/>
                <a:gd name="T19" fmla="*/ 270 h 511"/>
                <a:gd name="T20" fmla="*/ 61 w 300"/>
                <a:gd name="T21" fmla="*/ 269 h 511"/>
                <a:gd name="T22" fmla="*/ 51 w 300"/>
                <a:gd name="T23" fmla="*/ 264 h 511"/>
                <a:gd name="T24" fmla="*/ 43 w 300"/>
                <a:gd name="T25" fmla="*/ 257 h 511"/>
                <a:gd name="T26" fmla="*/ 38 w 300"/>
                <a:gd name="T27" fmla="*/ 249 h 511"/>
                <a:gd name="T28" fmla="*/ 31 w 300"/>
                <a:gd name="T29" fmla="*/ 229 h 511"/>
                <a:gd name="T30" fmla="*/ 30 w 300"/>
                <a:gd name="T31" fmla="*/ 210 h 511"/>
                <a:gd name="T32" fmla="*/ 0 w 300"/>
                <a:gd name="T33" fmla="*/ 210 h 511"/>
                <a:gd name="T34" fmla="*/ 1 w 300"/>
                <a:gd name="T35" fmla="*/ 228 h 511"/>
                <a:gd name="T36" fmla="*/ 3 w 300"/>
                <a:gd name="T37" fmla="*/ 244 h 511"/>
                <a:gd name="T38" fmla="*/ 9 w 300"/>
                <a:gd name="T39" fmla="*/ 258 h 511"/>
                <a:gd name="T40" fmla="*/ 16 w 300"/>
                <a:gd name="T41" fmla="*/ 270 h 511"/>
                <a:gd name="T42" fmla="*/ 25 w 300"/>
                <a:gd name="T43" fmla="*/ 281 h 511"/>
                <a:gd name="T44" fmla="*/ 34 w 300"/>
                <a:gd name="T45" fmla="*/ 289 h 511"/>
                <a:gd name="T46" fmla="*/ 46 w 300"/>
                <a:gd name="T47" fmla="*/ 295 h 511"/>
                <a:gd name="T48" fmla="*/ 60 w 300"/>
                <a:gd name="T49" fmla="*/ 299 h 511"/>
                <a:gd name="T50" fmla="*/ 240 w 300"/>
                <a:gd name="T51" fmla="*/ 511 h 511"/>
                <a:gd name="T52" fmla="*/ 247 w 300"/>
                <a:gd name="T53" fmla="*/ 297 h 511"/>
                <a:gd name="T54" fmla="*/ 259 w 300"/>
                <a:gd name="T55" fmla="*/ 292 h 511"/>
                <a:gd name="T56" fmla="*/ 271 w 300"/>
                <a:gd name="T57" fmla="*/ 285 h 511"/>
                <a:gd name="T58" fmla="*/ 280 w 300"/>
                <a:gd name="T59" fmla="*/ 275 h 511"/>
                <a:gd name="T60" fmla="*/ 288 w 300"/>
                <a:gd name="T61" fmla="*/ 265 h 511"/>
                <a:gd name="T62" fmla="*/ 294 w 300"/>
                <a:gd name="T63" fmla="*/ 251 h 511"/>
                <a:gd name="T64" fmla="*/ 298 w 300"/>
                <a:gd name="T65" fmla="*/ 236 h 511"/>
                <a:gd name="T66" fmla="*/ 300 w 300"/>
                <a:gd name="T67" fmla="*/ 220 h 511"/>
                <a:gd name="T68" fmla="*/ 300 w 300"/>
                <a:gd name="T69" fmla="*/ 0 h 511"/>
                <a:gd name="T70" fmla="*/ 0 w 300"/>
                <a:gd name="T71" fmla="*/ 21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0" h="511">
                  <a:moveTo>
                    <a:pt x="30" y="30"/>
                  </a:moveTo>
                  <a:lnTo>
                    <a:pt x="270" y="30"/>
                  </a:lnTo>
                  <a:lnTo>
                    <a:pt x="270" y="210"/>
                  </a:lnTo>
                  <a:lnTo>
                    <a:pt x="270" y="218"/>
                  </a:lnTo>
                  <a:lnTo>
                    <a:pt x="269" y="229"/>
                  </a:lnTo>
                  <a:lnTo>
                    <a:pt x="266" y="239"/>
                  </a:lnTo>
                  <a:lnTo>
                    <a:pt x="263" y="249"/>
                  </a:lnTo>
                  <a:lnTo>
                    <a:pt x="259" y="253"/>
                  </a:lnTo>
                  <a:lnTo>
                    <a:pt x="256" y="257"/>
                  </a:lnTo>
                  <a:lnTo>
                    <a:pt x="253" y="260"/>
                  </a:lnTo>
                  <a:lnTo>
                    <a:pt x="249" y="264"/>
                  </a:lnTo>
                  <a:lnTo>
                    <a:pt x="244" y="267"/>
                  </a:lnTo>
                  <a:lnTo>
                    <a:pt x="238" y="269"/>
                  </a:lnTo>
                  <a:lnTo>
                    <a:pt x="233" y="270"/>
                  </a:lnTo>
                  <a:lnTo>
                    <a:pt x="225" y="270"/>
                  </a:lnTo>
                  <a:lnTo>
                    <a:pt x="210" y="270"/>
                  </a:lnTo>
                  <a:lnTo>
                    <a:pt x="210" y="481"/>
                  </a:lnTo>
                  <a:lnTo>
                    <a:pt x="90" y="481"/>
                  </a:lnTo>
                  <a:lnTo>
                    <a:pt x="90" y="270"/>
                  </a:lnTo>
                  <a:lnTo>
                    <a:pt x="75" y="270"/>
                  </a:lnTo>
                  <a:lnTo>
                    <a:pt x="68" y="270"/>
                  </a:lnTo>
                  <a:lnTo>
                    <a:pt x="61" y="269"/>
                  </a:lnTo>
                  <a:lnTo>
                    <a:pt x="56" y="267"/>
                  </a:lnTo>
                  <a:lnTo>
                    <a:pt x="51" y="264"/>
                  </a:lnTo>
                  <a:lnTo>
                    <a:pt x="47" y="260"/>
                  </a:lnTo>
                  <a:lnTo>
                    <a:pt x="43" y="257"/>
                  </a:lnTo>
                  <a:lnTo>
                    <a:pt x="40" y="253"/>
                  </a:lnTo>
                  <a:lnTo>
                    <a:pt x="38" y="249"/>
                  </a:lnTo>
                  <a:lnTo>
                    <a:pt x="33" y="239"/>
                  </a:lnTo>
                  <a:lnTo>
                    <a:pt x="31" y="229"/>
                  </a:lnTo>
                  <a:lnTo>
                    <a:pt x="30" y="218"/>
                  </a:lnTo>
                  <a:lnTo>
                    <a:pt x="30" y="210"/>
                  </a:lnTo>
                  <a:lnTo>
                    <a:pt x="30" y="30"/>
                  </a:lnTo>
                  <a:close/>
                  <a:moveTo>
                    <a:pt x="0" y="210"/>
                  </a:moveTo>
                  <a:lnTo>
                    <a:pt x="0" y="218"/>
                  </a:lnTo>
                  <a:lnTo>
                    <a:pt x="1" y="228"/>
                  </a:lnTo>
                  <a:lnTo>
                    <a:pt x="2" y="236"/>
                  </a:lnTo>
                  <a:lnTo>
                    <a:pt x="3" y="244"/>
                  </a:lnTo>
                  <a:lnTo>
                    <a:pt x="6" y="251"/>
                  </a:lnTo>
                  <a:lnTo>
                    <a:pt x="9" y="258"/>
                  </a:lnTo>
                  <a:lnTo>
                    <a:pt x="12" y="265"/>
                  </a:lnTo>
                  <a:lnTo>
                    <a:pt x="16" y="270"/>
                  </a:lnTo>
                  <a:lnTo>
                    <a:pt x="19" y="275"/>
                  </a:lnTo>
                  <a:lnTo>
                    <a:pt x="25" y="281"/>
                  </a:lnTo>
                  <a:lnTo>
                    <a:pt x="29" y="285"/>
                  </a:lnTo>
                  <a:lnTo>
                    <a:pt x="34" y="289"/>
                  </a:lnTo>
                  <a:lnTo>
                    <a:pt x="41" y="292"/>
                  </a:lnTo>
                  <a:lnTo>
                    <a:pt x="46" y="295"/>
                  </a:lnTo>
                  <a:lnTo>
                    <a:pt x="53" y="297"/>
                  </a:lnTo>
                  <a:lnTo>
                    <a:pt x="60" y="299"/>
                  </a:lnTo>
                  <a:lnTo>
                    <a:pt x="60" y="511"/>
                  </a:lnTo>
                  <a:lnTo>
                    <a:pt x="240" y="511"/>
                  </a:lnTo>
                  <a:lnTo>
                    <a:pt x="240" y="299"/>
                  </a:lnTo>
                  <a:lnTo>
                    <a:pt x="247" y="297"/>
                  </a:lnTo>
                  <a:lnTo>
                    <a:pt x="254" y="295"/>
                  </a:lnTo>
                  <a:lnTo>
                    <a:pt x="259" y="292"/>
                  </a:lnTo>
                  <a:lnTo>
                    <a:pt x="266" y="289"/>
                  </a:lnTo>
                  <a:lnTo>
                    <a:pt x="271" y="285"/>
                  </a:lnTo>
                  <a:lnTo>
                    <a:pt x="276" y="281"/>
                  </a:lnTo>
                  <a:lnTo>
                    <a:pt x="280" y="275"/>
                  </a:lnTo>
                  <a:lnTo>
                    <a:pt x="284" y="270"/>
                  </a:lnTo>
                  <a:lnTo>
                    <a:pt x="288" y="265"/>
                  </a:lnTo>
                  <a:lnTo>
                    <a:pt x="292" y="258"/>
                  </a:lnTo>
                  <a:lnTo>
                    <a:pt x="294" y="251"/>
                  </a:lnTo>
                  <a:lnTo>
                    <a:pt x="296" y="244"/>
                  </a:lnTo>
                  <a:lnTo>
                    <a:pt x="298" y="236"/>
                  </a:lnTo>
                  <a:lnTo>
                    <a:pt x="299" y="228"/>
                  </a:lnTo>
                  <a:lnTo>
                    <a:pt x="300" y="220"/>
                  </a:lnTo>
                  <a:lnTo>
                    <a:pt x="300" y="210"/>
                  </a:lnTo>
                  <a:lnTo>
                    <a:pt x="300" y="0"/>
                  </a:lnTo>
                  <a:lnTo>
                    <a:pt x="0" y="0"/>
                  </a:lnTo>
                  <a:lnTo>
                    <a:pt x="0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7" name="Freeform 188"/>
            <p:cNvSpPr>
              <a:spLocks noEditPoints="1"/>
            </p:cNvSpPr>
            <p:nvPr/>
          </p:nvSpPr>
          <p:spPr bwMode="auto">
            <a:xfrm>
              <a:off x="5121275" y="1963738"/>
              <a:ext cx="47625" cy="47625"/>
            </a:xfrm>
            <a:custGeom>
              <a:avLst/>
              <a:gdLst>
                <a:gd name="T0" fmla="*/ 85 w 151"/>
                <a:gd name="T1" fmla="*/ 31 h 151"/>
                <a:gd name="T2" fmla="*/ 101 w 151"/>
                <a:gd name="T3" fmla="*/ 38 h 151"/>
                <a:gd name="T4" fmla="*/ 113 w 151"/>
                <a:gd name="T5" fmla="*/ 50 h 151"/>
                <a:gd name="T6" fmla="*/ 120 w 151"/>
                <a:gd name="T7" fmla="*/ 66 h 151"/>
                <a:gd name="T8" fmla="*/ 120 w 151"/>
                <a:gd name="T9" fmla="*/ 84 h 151"/>
                <a:gd name="T10" fmla="*/ 113 w 151"/>
                <a:gd name="T11" fmla="*/ 100 h 151"/>
                <a:gd name="T12" fmla="*/ 101 w 151"/>
                <a:gd name="T13" fmla="*/ 112 h 151"/>
                <a:gd name="T14" fmla="*/ 85 w 151"/>
                <a:gd name="T15" fmla="*/ 120 h 151"/>
                <a:gd name="T16" fmla="*/ 67 w 151"/>
                <a:gd name="T17" fmla="*/ 120 h 151"/>
                <a:gd name="T18" fmla="*/ 51 w 151"/>
                <a:gd name="T19" fmla="*/ 112 h 151"/>
                <a:gd name="T20" fmla="*/ 39 w 151"/>
                <a:gd name="T21" fmla="*/ 100 h 151"/>
                <a:gd name="T22" fmla="*/ 31 w 151"/>
                <a:gd name="T23" fmla="*/ 84 h 151"/>
                <a:gd name="T24" fmla="*/ 31 w 151"/>
                <a:gd name="T25" fmla="*/ 66 h 151"/>
                <a:gd name="T26" fmla="*/ 39 w 151"/>
                <a:gd name="T27" fmla="*/ 50 h 151"/>
                <a:gd name="T28" fmla="*/ 51 w 151"/>
                <a:gd name="T29" fmla="*/ 38 h 151"/>
                <a:gd name="T30" fmla="*/ 67 w 151"/>
                <a:gd name="T31" fmla="*/ 31 h 151"/>
                <a:gd name="T32" fmla="*/ 76 w 151"/>
                <a:gd name="T33" fmla="*/ 151 h 151"/>
                <a:gd name="T34" fmla="*/ 91 w 151"/>
                <a:gd name="T35" fmla="*/ 149 h 151"/>
                <a:gd name="T36" fmla="*/ 105 w 151"/>
                <a:gd name="T37" fmla="*/ 144 h 151"/>
                <a:gd name="T38" fmla="*/ 118 w 151"/>
                <a:gd name="T39" fmla="*/ 138 h 151"/>
                <a:gd name="T40" fmla="*/ 129 w 151"/>
                <a:gd name="T41" fmla="*/ 128 h 151"/>
                <a:gd name="T42" fmla="*/ 139 w 151"/>
                <a:gd name="T43" fmla="*/ 118 h 151"/>
                <a:gd name="T44" fmla="*/ 145 w 151"/>
                <a:gd name="T45" fmla="*/ 105 h 151"/>
                <a:gd name="T46" fmla="*/ 149 w 151"/>
                <a:gd name="T47" fmla="*/ 91 h 151"/>
                <a:gd name="T48" fmla="*/ 151 w 151"/>
                <a:gd name="T49" fmla="*/ 75 h 151"/>
                <a:gd name="T50" fmla="*/ 149 w 151"/>
                <a:gd name="T51" fmla="*/ 60 h 151"/>
                <a:gd name="T52" fmla="*/ 145 w 151"/>
                <a:gd name="T53" fmla="*/ 46 h 151"/>
                <a:gd name="T54" fmla="*/ 139 w 151"/>
                <a:gd name="T55" fmla="*/ 33 h 151"/>
                <a:gd name="T56" fmla="*/ 129 w 151"/>
                <a:gd name="T57" fmla="*/ 22 h 151"/>
                <a:gd name="T58" fmla="*/ 118 w 151"/>
                <a:gd name="T59" fmla="*/ 12 h 151"/>
                <a:gd name="T60" fmla="*/ 105 w 151"/>
                <a:gd name="T61" fmla="*/ 6 h 151"/>
                <a:gd name="T62" fmla="*/ 91 w 151"/>
                <a:gd name="T63" fmla="*/ 2 h 151"/>
                <a:gd name="T64" fmla="*/ 76 w 151"/>
                <a:gd name="T65" fmla="*/ 0 h 151"/>
                <a:gd name="T66" fmla="*/ 60 w 151"/>
                <a:gd name="T67" fmla="*/ 2 h 151"/>
                <a:gd name="T68" fmla="*/ 46 w 151"/>
                <a:gd name="T69" fmla="*/ 6 h 151"/>
                <a:gd name="T70" fmla="*/ 34 w 151"/>
                <a:gd name="T71" fmla="*/ 12 h 151"/>
                <a:gd name="T72" fmla="*/ 23 w 151"/>
                <a:gd name="T73" fmla="*/ 22 h 151"/>
                <a:gd name="T74" fmla="*/ 13 w 151"/>
                <a:gd name="T75" fmla="*/ 33 h 151"/>
                <a:gd name="T76" fmla="*/ 7 w 151"/>
                <a:gd name="T77" fmla="*/ 46 h 151"/>
                <a:gd name="T78" fmla="*/ 2 w 151"/>
                <a:gd name="T79" fmla="*/ 60 h 151"/>
                <a:gd name="T80" fmla="*/ 0 w 151"/>
                <a:gd name="T81" fmla="*/ 75 h 151"/>
                <a:gd name="T82" fmla="*/ 2 w 151"/>
                <a:gd name="T83" fmla="*/ 91 h 151"/>
                <a:gd name="T84" fmla="*/ 7 w 151"/>
                <a:gd name="T85" fmla="*/ 105 h 151"/>
                <a:gd name="T86" fmla="*/ 13 w 151"/>
                <a:gd name="T87" fmla="*/ 118 h 151"/>
                <a:gd name="T88" fmla="*/ 23 w 151"/>
                <a:gd name="T89" fmla="*/ 128 h 151"/>
                <a:gd name="T90" fmla="*/ 34 w 151"/>
                <a:gd name="T91" fmla="*/ 138 h 151"/>
                <a:gd name="T92" fmla="*/ 46 w 151"/>
                <a:gd name="T93" fmla="*/ 144 h 151"/>
                <a:gd name="T94" fmla="*/ 60 w 151"/>
                <a:gd name="T95" fmla="*/ 149 h 151"/>
                <a:gd name="T96" fmla="*/ 76 w 151"/>
                <a:gd name="T97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1" h="151">
                  <a:moveTo>
                    <a:pt x="76" y="30"/>
                  </a:moveTo>
                  <a:lnTo>
                    <a:pt x="85" y="31"/>
                  </a:lnTo>
                  <a:lnTo>
                    <a:pt x="94" y="34"/>
                  </a:lnTo>
                  <a:lnTo>
                    <a:pt x="101" y="38"/>
                  </a:lnTo>
                  <a:lnTo>
                    <a:pt x="108" y="44"/>
                  </a:lnTo>
                  <a:lnTo>
                    <a:pt x="113" y="50"/>
                  </a:lnTo>
                  <a:lnTo>
                    <a:pt x="117" y="57"/>
                  </a:lnTo>
                  <a:lnTo>
                    <a:pt x="120" y="66"/>
                  </a:lnTo>
                  <a:lnTo>
                    <a:pt x="121" y="75"/>
                  </a:lnTo>
                  <a:lnTo>
                    <a:pt x="120" y="84"/>
                  </a:lnTo>
                  <a:lnTo>
                    <a:pt x="117" y="93"/>
                  </a:lnTo>
                  <a:lnTo>
                    <a:pt x="113" y="100"/>
                  </a:lnTo>
                  <a:lnTo>
                    <a:pt x="108" y="107"/>
                  </a:lnTo>
                  <a:lnTo>
                    <a:pt x="101" y="112"/>
                  </a:lnTo>
                  <a:lnTo>
                    <a:pt x="94" y="116"/>
                  </a:lnTo>
                  <a:lnTo>
                    <a:pt x="85" y="120"/>
                  </a:lnTo>
                  <a:lnTo>
                    <a:pt x="76" y="121"/>
                  </a:lnTo>
                  <a:lnTo>
                    <a:pt x="67" y="120"/>
                  </a:lnTo>
                  <a:lnTo>
                    <a:pt x="58" y="116"/>
                  </a:lnTo>
                  <a:lnTo>
                    <a:pt x="51" y="112"/>
                  </a:lnTo>
                  <a:lnTo>
                    <a:pt x="44" y="107"/>
                  </a:lnTo>
                  <a:lnTo>
                    <a:pt x="39" y="100"/>
                  </a:lnTo>
                  <a:lnTo>
                    <a:pt x="35" y="93"/>
                  </a:lnTo>
                  <a:lnTo>
                    <a:pt x="31" y="84"/>
                  </a:lnTo>
                  <a:lnTo>
                    <a:pt x="30" y="75"/>
                  </a:lnTo>
                  <a:lnTo>
                    <a:pt x="31" y="66"/>
                  </a:lnTo>
                  <a:lnTo>
                    <a:pt x="35" y="57"/>
                  </a:lnTo>
                  <a:lnTo>
                    <a:pt x="39" y="50"/>
                  </a:lnTo>
                  <a:lnTo>
                    <a:pt x="44" y="44"/>
                  </a:lnTo>
                  <a:lnTo>
                    <a:pt x="51" y="38"/>
                  </a:lnTo>
                  <a:lnTo>
                    <a:pt x="58" y="34"/>
                  </a:lnTo>
                  <a:lnTo>
                    <a:pt x="67" y="31"/>
                  </a:lnTo>
                  <a:lnTo>
                    <a:pt x="76" y="30"/>
                  </a:lnTo>
                  <a:close/>
                  <a:moveTo>
                    <a:pt x="76" y="151"/>
                  </a:moveTo>
                  <a:lnTo>
                    <a:pt x="84" y="150"/>
                  </a:lnTo>
                  <a:lnTo>
                    <a:pt x="91" y="149"/>
                  </a:lnTo>
                  <a:lnTo>
                    <a:pt x="98" y="146"/>
                  </a:lnTo>
                  <a:lnTo>
                    <a:pt x="105" y="144"/>
                  </a:lnTo>
                  <a:lnTo>
                    <a:pt x="112" y="141"/>
                  </a:lnTo>
                  <a:lnTo>
                    <a:pt x="118" y="138"/>
                  </a:lnTo>
                  <a:lnTo>
                    <a:pt x="124" y="134"/>
                  </a:lnTo>
                  <a:lnTo>
                    <a:pt x="129" y="128"/>
                  </a:lnTo>
                  <a:lnTo>
                    <a:pt x="134" y="123"/>
                  </a:lnTo>
                  <a:lnTo>
                    <a:pt x="139" y="118"/>
                  </a:lnTo>
                  <a:lnTo>
                    <a:pt x="142" y="111"/>
                  </a:lnTo>
                  <a:lnTo>
                    <a:pt x="145" y="105"/>
                  </a:lnTo>
                  <a:lnTo>
                    <a:pt x="148" y="97"/>
                  </a:lnTo>
                  <a:lnTo>
                    <a:pt x="149" y="91"/>
                  </a:lnTo>
                  <a:lnTo>
                    <a:pt x="150" y="83"/>
                  </a:lnTo>
                  <a:lnTo>
                    <a:pt x="151" y="75"/>
                  </a:lnTo>
                  <a:lnTo>
                    <a:pt x="150" y="67"/>
                  </a:lnTo>
                  <a:lnTo>
                    <a:pt x="149" y="60"/>
                  </a:lnTo>
                  <a:lnTo>
                    <a:pt x="148" y="53"/>
                  </a:lnTo>
                  <a:lnTo>
                    <a:pt x="145" y="46"/>
                  </a:lnTo>
                  <a:lnTo>
                    <a:pt x="142" y="39"/>
                  </a:lnTo>
                  <a:lnTo>
                    <a:pt x="139" y="33"/>
                  </a:lnTo>
                  <a:lnTo>
                    <a:pt x="134" y="27"/>
                  </a:lnTo>
                  <a:lnTo>
                    <a:pt x="129" y="22"/>
                  </a:lnTo>
                  <a:lnTo>
                    <a:pt x="124" y="17"/>
                  </a:lnTo>
                  <a:lnTo>
                    <a:pt x="118" y="12"/>
                  </a:lnTo>
                  <a:lnTo>
                    <a:pt x="112" y="9"/>
                  </a:lnTo>
                  <a:lnTo>
                    <a:pt x="105" y="6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4" y="1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60" y="2"/>
                  </a:lnTo>
                  <a:lnTo>
                    <a:pt x="54" y="4"/>
                  </a:lnTo>
                  <a:lnTo>
                    <a:pt x="46" y="6"/>
                  </a:lnTo>
                  <a:lnTo>
                    <a:pt x="40" y="9"/>
                  </a:lnTo>
                  <a:lnTo>
                    <a:pt x="34" y="12"/>
                  </a:lnTo>
                  <a:lnTo>
                    <a:pt x="28" y="17"/>
                  </a:lnTo>
                  <a:lnTo>
                    <a:pt x="23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10" y="39"/>
                  </a:lnTo>
                  <a:lnTo>
                    <a:pt x="7" y="46"/>
                  </a:lnTo>
                  <a:lnTo>
                    <a:pt x="5" y="53"/>
                  </a:lnTo>
                  <a:lnTo>
                    <a:pt x="2" y="60"/>
                  </a:lnTo>
                  <a:lnTo>
                    <a:pt x="1" y="67"/>
                  </a:lnTo>
                  <a:lnTo>
                    <a:pt x="0" y="75"/>
                  </a:lnTo>
                  <a:lnTo>
                    <a:pt x="1" y="83"/>
                  </a:lnTo>
                  <a:lnTo>
                    <a:pt x="2" y="91"/>
                  </a:lnTo>
                  <a:lnTo>
                    <a:pt x="5" y="97"/>
                  </a:lnTo>
                  <a:lnTo>
                    <a:pt x="7" y="105"/>
                  </a:lnTo>
                  <a:lnTo>
                    <a:pt x="10" y="111"/>
                  </a:lnTo>
                  <a:lnTo>
                    <a:pt x="13" y="118"/>
                  </a:lnTo>
                  <a:lnTo>
                    <a:pt x="17" y="123"/>
                  </a:lnTo>
                  <a:lnTo>
                    <a:pt x="23" y="128"/>
                  </a:lnTo>
                  <a:lnTo>
                    <a:pt x="28" y="134"/>
                  </a:lnTo>
                  <a:lnTo>
                    <a:pt x="34" y="138"/>
                  </a:lnTo>
                  <a:lnTo>
                    <a:pt x="40" y="141"/>
                  </a:lnTo>
                  <a:lnTo>
                    <a:pt x="46" y="144"/>
                  </a:lnTo>
                  <a:lnTo>
                    <a:pt x="54" y="146"/>
                  </a:lnTo>
                  <a:lnTo>
                    <a:pt x="60" y="149"/>
                  </a:lnTo>
                  <a:lnTo>
                    <a:pt x="68" y="150"/>
                  </a:lnTo>
                  <a:lnTo>
                    <a:pt x="76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8" name="Freeform 189"/>
            <p:cNvSpPr>
              <a:spLocks noEditPoints="1"/>
            </p:cNvSpPr>
            <p:nvPr/>
          </p:nvSpPr>
          <p:spPr bwMode="auto">
            <a:xfrm>
              <a:off x="4902200" y="1963738"/>
              <a:ext cx="47625" cy="47625"/>
            </a:xfrm>
            <a:custGeom>
              <a:avLst/>
              <a:gdLst>
                <a:gd name="T0" fmla="*/ 84 w 150"/>
                <a:gd name="T1" fmla="*/ 31 h 151"/>
                <a:gd name="T2" fmla="*/ 101 w 150"/>
                <a:gd name="T3" fmla="*/ 38 h 151"/>
                <a:gd name="T4" fmla="*/ 112 w 150"/>
                <a:gd name="T5" fmla="*/ 50 h 151"/>
                <a:gd name="T6" fmla="*/ 119 w 150"/>
                <a:gd name="T7" fmla="*/ 66 h 151"/>
                <a:gd name="T8" fmla="*/ 119 w 150"/>
                <a:gd name="T9" fmla="*/ 84 h 151"/>
                <a:gd name="T10" fmla="*/ 112 w 150"/>
                <a:gd name="T11" fmla="*/ 100 h 151"/>
                <a:gd name="T12" fmla="*/ 101 w 150"/>
                <a:gd name="T13" fmla="*/ 112 h 151"/>
                <a:gd name="T14" fmla="*/ 84 w 150"/>
                <a:gd name="T15" fmla="*/ 120 h 151"/>
                <a:gd name="T16" fmla="*/ 66 w 150"/>
                <a:gd name="T17" fmla="*/ 120 h 151"/>
                <a:gd name="T18" fmla="*/ 50 w 150"/>
                <a:gd name="T19" fmla="*/ 112 h 151"/>
                <a:gd name="T20" fmla="*/ 37 w 150"/>
                <a:gd name="T21" fmla="*/ 100 h 151"/>
                <a:gd name="T22" fmla="*/ 31 w 150"/>
                <a:gd name="T23" fmla="*/ 84 h 151"/>
                <a:gd name="T24" fmla="*/ 31 w 150"/>
                <a:gd name="T25" fmla="*/ 66 h 151"/>
                <a:gd name="T26" fmla="*/ 37 w 150"/>
                <a:gd name="T27" fmla="*/ 50 h 151"/>
                <a:gd name="T28" fmla="*/ 50 w 150"/>
                <a:gd name="T29" fmla="*/ 38 h 151"/>
                <a:gd name="T30" fmla="*/ 66 w 150"/>
                <a:gd name="T31" fmla="*/ 31 h 151"/>
                <a:gd name="T32" fmla="*/ 75 w 150"/>
                <a:gd name="T33" fmla="*/ 151 h 151"/>
                <a:gd name="T34" fmla="*/ 90 w 150"/>
                <a:gd name="T35" fmla="*/ 149 h 151"/>
                <a:gd name="T36" fmla="*/ 105 w 150"/>
                <a:gd name="T37" fmla="*/ 144 h 151"/>
                <a:gd name="T38" fmla="*/ 117 w 150"/>
                <a:gd name="T39" fmla="*/ 138 h 151"/>
                <a:gd name="T40" fmla="*/ 128 w 150"/>
                <a:gd name="T41" fmla="*/ 128 h 151"/>
                <a:gd name="T42" fmla="*/ 137 w 150"/>
                <a:gd name="T43" fmla="*/ 118 h 151"/>
                <a:gd name="T44" fmla="*/ 144 w 150"/>
                <a:gd name="T45" fmla="*/ 105 h 151"/>
                <a:gd name="T46" fmla="*/ 149 w 150"/>
                <a:gd name="T47" fmla="*/ 91 h 151"/>
                <a:gd name="T48" fmla="*/ 150 w 150"/>
                <a:gd name="T49" fmla="*/ 75 h 151"/>
                <a:gd name="T50" fmla="*/ 149 w 150"/>
                <a:gd name="T51" fmla="*/ 60 h 151"/>
                <a:gd name="T52" fmla="*/ 144 w 150"/>
                <a:gd name="T53" fmla="*/ 46 h 151"/>
                <a:gd name="T54" fmla="*/ 137 w 150"/>
                <a:gd name="T55" fmla="*/ 33 h 151"/>
                <a:gd name="T56" fmla="*/ 128 w 150"/>
                <a:gd name="T57" fmla="*/ 22 h 151"/>
                <a:gd name="T58" fmla="*/ 117 w 150"/>
                <a:gd name="T59" fmla="*/ 12 h 151"/>
                <a:gd name="T60" fmla="*/ 105 w 150"/>
                <a:gd name="T61" fmla="*/ 6 h 151"/>
                <a:gd name="T62" fmla="*/ 90 w 150"/>
                <a:gd name="T63" fmla="*/ 2 h 151"/>
                <a:gd name="T64" fmla="*/ 75 w 150"/>
                <a:gd name="T65" fmla="*/ 0 h 151"/>
                <a:gd name="T66" fmla="*/ 60 w 150"/>
                <a:gd name="T67" fmla="*/ 2 h 151"/>
                <a:gd name="T68" fmla="*/ 46 w 150"/>
                <a:gd name="T69" fmla="*/ 6 h 151"/>
                <a:gd name="T70" fmla="*/ 33 w 150"/>
                <a:gd name="T71" fmla="*/ 12 h 151"/>
                <a:gd name="T72" fmla="*/ 22 w 150"/>
                <a:gd name="T73" fmla="*/ 22 h 151"/>
                <a:gd name="T74" fmla="*/ 13 w 150"/>
                <a:gd name="T75" fmla="*/ 33 h 151"/>
                <a:gd name="T76" fmla="*/ 6 w 150"/>
                <a:gd name="T77" fmla="*/ 46 h 151"/>
                <a:gd name="T78" fmla="*/ 2 w 150"/>
                <a:gd name="T79" fmla="*/ 60 h 151"/>
                <a:gd name="T80" fmla="*/ 0 w 150"/>
                <a:gd name="T81" fmla="*/ 75 h 151"/>
                <a:gd name="T82" fmla="*/ 2 w 150"/>
                <a:gd name="T83" fmla="*/ 91 h 151"/>
                <a:gd name="T84" fmla="*/ 6 w 150"/>
                <a:gd name="T85" fmla="*/ 105 h 151"/>
                <a:gd name="T86" fmla="*/ 13 w 150"/>
                <a:gd name="T87" fmla="*/ 118 h 151"/>
                <a:gd name="T88" fmla="*/ 22 w 150"/>
                <a:gd name="T89" fmla="*/ 128 h 151"/>
                <a:gd name="T90" fmla="*/ 33 w 150"/>
                <a:gd name="T91" fmla="*/ 138 h 151"/>
                <a:gd name="T92" fmla="*/ 46 w 150"/>
                <a:gd name="T93" fmla="*/ 144 h 151"/>
                <a:gd name="T94" fmla="*/ 60 w 150"/>
                <a:gd name="T95" fmla="*/ 149 h 151"/>
                <a:gd name="T96" fmla="*/ 75 w 150"/>
                <a:gd name="T97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0" h="151">
                  <a:moveTo>
                    <a:pt x="75" y="30"/>
                  </a:moveTo>
                  <a:lnTo>
                    <a:pt x="84" y="31"/>
                  </a:lnTo>
                  <a:lnTo>
                    <a:pt x="93" y="34"/>
                  </a:lnTo>
                  <a:lnTo>
                    <a:pt x="101" y="38"/>
                  </a:lnTo>
                  <a:lnTo>
                    <a:pt x="107" y="44"/>
                  </a:lnTo>
                  <a:lnTo>
                    <a:pt x="112" y="50"/>
                  </a:lnTo>
                  <a:lnTo>
                    <a:pt x="117" y="57"/>
                  </a:lnTo>
                  <a:lnTo>
                    <a:pt x="119" y="66"/>
                  </a:lnTo>
                  <a:lnTo>
                    <a:pt x="120" y="75"/>
                  </a:lnTo>
                  <a:lnTo>
                    <a:pt x="119" y="84"/>
                  </a:lnTo>
                  <a:lnTo>
                    <a:pt x="117" y="93"/>
                  </a:lnTo>
                  <a:lnTo>
                    <a:pt x="112" y="100"/>
                  </a:lnTo>
                  <a:lnTo>
                    <a:pt x="107" y="107"/>
                  </a:lnTo>
                  <a:lnTo>
                    <a:pt x="101" y="112"/>
                  </a:lnTo>
                  <a:lnTo>
                    <a:pt x="93" y="116"/>
                  </a:lnTo>
                  <a:lnTo>
                    <a:pt x="84" y="120"/>
                  </a:lnTo>
                  <a:lnTo>
                    <a:pt x="75" y="121"/>
                  </a:lnTo>
                  <a:lnTo>
                    <a:pt x="66" y="120"/>
                  </a:lnTo>
                  <a:lnTo>
                    <a:pt x="58" y="116"/>
                  </a:lnTo>
                  <a:lnTo>
                    <a:pt x="50" y="112"/>
                  </a:lnTo>
                  <a:lnTo>
                    <a:pt x="44" y="107"/>
                  </a:lnTo>
                  <a:lnTo>
                    <a:pt x="37" y="100"/>
                  </a:lnTo>
                  <a:lnTo>
                    <a:pt x="33" y="93"/>
                  </a:lnTo>
                  <a:lnTo>
                    <a:pt x="31" y="84"/>
                  </a:lnTo>
                  <a:lnTo>
                    <a:pt x="30" y="75"/>
                  </a:lnTo>
                  <a:lnTo>
                    <a:pt x="31" y="66"/>
                  </a:lnTo>
                  <a:lnTo>
                    <a:pt x="33" y="57"/>
                  </a:lnTo>
                  <a:lnTo>
                    <a:pt x="37" y="50"/>
                  </a:lnTo>
                  <a:lnTo>
                    <a:pt x="44" y="44"/>
                  </a:lnTo>
                  <a:lnTo>
                    <a:pt x="50" y="38"/>
                  </a:lnTo>
                  <a:lnTo>
                    <a:pt x="58" y="34"/>
                  </a:lnTo>
                  <a:lnTo>
                    <a:pt x="66" y="31"/>
                  </a:lnTo>
                  <a:lnTo>
                    <a:pt x="75" y="30"/>
                  </a:lnTo>
                  <a:close/>
                  <a:moveTo>
                    <a:pt x="75" y="151"/>
                  </a:moveTo>
                  <a:lnTo>
                    <a:pt x="82" y="150"/>
                  </a:lnTo>
                  <a:lnTo>
                    <a:pt x="90" y="149"/>
                  </a:lnTo>
                  <a:lnTo>
                    <a:pt x="97" y="146"/>
                  </a:lnTo>
                  <a:lnTo>
                    <a:pt x="105" y="144"/>
                  </a:lnTo>
                  <a:lnTo>
                    <a:pt x="111" y="141"/>
                  </a:lnTo>
                  <a:lnTo>
                    <a:pt x="117" y="138"/>
                  </a:lnTo>
                  <a:lnTo>
                    <a:pt x="123" y="134"/>
                  </a:lnTo>
                  <a:lnTo>
                    <a:pt x="128" y="128"/>
                  </a:lnTo>
                  <a:lnTo>
                    <a:pt x="133" y="123"/>
                  </a:lnTo>
                  <a:lnTo>
                    <a:pt x="137" y="118"/>
                  </a:lnTo>
                  <a:lnTo>
                    <a:pt x="141" y="111"/>
                  </a:lnTo>
                  <a:lnTo>
                    <a:pt x="144" y="105"/>
                  </a:lnTo>
                  <a:lnTo>
                    <a:pt x="147" y="97"/>
                  </a:lnTo>
                  <a:lnTo>
                    <a:pt x="149" y="91"/>
                  </a:lnTo>
                  <a:lnTo>
                    <a:pt x="150" y="83"/>
                  </a:lnTo>
                  <a:lnTo>
                    <a:pt x="150" y="75"/>
                  </a:lnTo>
                  <a:lnTo>
                    <a:pt x="150" y="67"/>
                  </a:lnTo>
                  <a:lnTo>
                    <a:pt x="149" y="60"/>
                  </a:lnTo>
                  <a:lnTo>
                    <a:pt x="147" y="53"/>
                  </a:lnTo>
                  <a:lnTo>
                    <a:pt x="144" y="46"/>
                  </a:lnTo>
                  <a:lnTo>
                    <a:pt x="141" y="39"/>
                  </a:lnTo>
                  <a:lnTo>
                    <a:pt x="137" y="33"/>
                  </a:lnTo>
                  <a:lnTo>
                    <a:pt x="133" y="27"/>
                  </a:lnTo>
                  <a:lnTo>
                    <a:pt x="128" y="22"/>
                  </a:lnTo>
                  <a:lnTo>
                    <a:pt x="123" y="17"/>
                  </a:lnTo>
                  <a:lnTo>
                    <a:pt x="117" y="12"/>
                  </a:lnTo>
                  <a:lnTo>
                    <a:pt x="111" y="9"/>
                  </a:lnTo>
                  <a:lnTo>
                    <a:pt x="105" y="6"/>
                  </a:lnTo>
                  <a:lnTo>
                    <a:pt x="97" y="4"/>
                  </a:lnTo>
                  <a:lnTo>
                    <a:pt x="90" y="2"/>
                  </a:lnTo>
                  <a:lnTo>
                    <a:pt x="82" y="1"/>
                  </a:lnTo>
                  <a:lnTo>
                    <a:pt x="75" y="0"/>
                  </a:lnTo>
                  <a:lnTo>
                    <a:pt x="67" y="1"/>
                  </a:lnTo>
                  <a:lnTo>
                    <a:pt x="60" y="2"/>
                  </a:lnTo>
                  <a:lnTo>
                    <a:pt x="52" y="4"/>
                  </a:lnTo>
                  <a:lnTo>
                    <a:pt x="46" y="6"/>
                  </a:lnTo>
                  <a:lnTo>
                    <a:pt x="39" y="9"/>
                  </a:lnTo>
                  <a:lnTo>
                    <a:pt x="33" y="12"/>
                  </a:lnTo>
                  <a:lnTo>
                    <a:pt x="28" y="17"/>
                  </a:lnTo>
                  <a:lnTo>
                    <a:pt x="22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9" y="39"/>
                  </a:lnTo>
                  <a:lnTo>
                    <a:pt x="6" y="46"/>
                  </a:lnTo>
                  <a:lnTo>
                    <a:pt x="3" y="53"/>
                  </a:lnTo>
                  <a:lnTo>
                    <a:pt x="2" y="60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83"/>
                  </a:lnTo>
                  <a:lnTo>
                    <a:pt x="2" y="91"/>
                  </a:lnTo>
                  <a:lnTo>
                    <a:pt x="3" y="97"/>
                  </a:lnTo>
                  <a:lnTo>
                    <a:pt x="6" y="105"/>
                  </a:lnTo>
                  <a:lnTo>
                    <a:pt x="9" y="111"/>
                  </a:lnTo>
                  <a:lnTo>
                    <a:pt x="13" y="118"/>
                  </a:lnTo>
                  <a:lnTo>
                    <a:pt x="17" y="123"/>
                  </a:lnTo>
                  <a:lnTo>
                    <a:pt x="22" y="128"/>
                  </a:lnTo>
                  <a:lnTo>
                    <a:pt x="28" y="134"/>
                  </a:lnTo>
                  <a:lnTo>
                    <a:pt x="33" y="138"/>
                  </a:lnTo>
                  <a:lnTo>
                    <a:pt x="39" y="141"/>
                  </a:lnTo>
                  <a:lnTo>
                    <a:pt x="46" y="144"/>
                  </a:lnTo>
                  <a:lnTo>
                    <a:pt x="52" y="146"/>
                  </a:lnTo>
                  <a:lnTo>
                    <a:pt x="60" y="149"/>
                  </a:lnTo>
                  <a:lnTo>
                    <a:pt x="67" y="150"/>
                  </a:lnTo>
                  <a:lnTo>
                    <a:pt x="7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9" name="Freeform 190"/>
            <p:cNvSpPr>
              <a:spLocks noEditPoints="1"/>
            </p:cNvSpPr>
            <p:nvPr/>
          </p:nvSpPr>
          <p:spPr bwMode="auto">
            <a:xfrm>
              <a:off x="4997450" y="1935163"/>
              <a:ext cx="76200" cy="76200"/>
            </a:xfrm>
            <a:custGeom>
              <a:avLst/>
              <a:gdLst>
                <a:gd name="T0" fmla="*/ 138 w 240"/>
                <a:gd name="T1" fmla="*/ 32 h 241"/>
                <a:gd name="T2" fmla="*/ 163 w 240"/>
                <a:gd name="T3" fmla="*/ 40 h 241"/>
                <a:gd name="T4" fmla="*/ 183 w 240"/>
                <a:gd name="T5" fmla="*/ 56 h 241"/>
                <a:gd name="T6" fmla="*/ 199 w 240"/>
                <a:gd name="T7" fmla="*/ 77 h 241"/>
                <a:gd name="T8" fmla="*/ 208 w 240"/>
                <a:gd name="T9" fmla="*/ 101 h 241"/>
                <a:gd name="T10" fmla="*/ 210 w 240"/>
                <a:gd name="T11" fmla="*/ 129 h 241"/>
                <a:gd name="T12" fmla="*/ 203 w 240"/>
                <a:gd name="T13" fmla="*/ 155 h 241"/>
                <a:gd name="T14" fmla="*/ 190 w 240"/>
                <a:gd name="T15" fmla="*/ 178 h 241"/>
                <a:gd name="T16" fmla="*/ 171 w 240"/>
                <a:gd name="T17" fmla="*/ 195 h 241"/>
                <a:gd name="T18" fmla="*/ 147 w 240"/>
                <a:gd name="T19" fmla="*/ 206 h 241"/>
                <a:gd name="T20" fmla="*/ 120 w 240"/>
                <a:gd name="T21" fmla="*/ 211 h 241"/>
                <a:gd name="T22" fmla="*/ 93 w 240"/>
                <a:gd name="T23" fmla="*/ 206 h 241"/>
                <a:gd name="T24" fmla="*/ 70 w 240"/>
                <a:gd name="T25" fmla="*/ 195 h 241"/>
                <a:gd name="T26" fmla="*/ 50 w 240"/>
                <a:gd name="T27" fmla="*/ 178 h 241"/>
                <a:gd name="T28" fmla="*/ 36 w 240"/>
                <a:gd name="T29" fmla="*/ 155 h 241"/>
                <a:gd name="T30" fmla="*/ 30 w 240"/>
                <a:gd name="T31" fmla="*/ 129 h 241"/>
                <a:gd name="T32" fmla="*/ 31 w 240"/>
                <a:gd name="T33" fmla="*/ 101 h 241"/>
                <a:gd name="T34" fmla="*/ 41 w 240"/>
                <a:gd name="T35" fmla="*/ 77 h 241"/>
                <a:gd name="T36" fmla="*/ 56 w 240"/>
                <a:gd name="T37" fmla="*/ 56 h 241"/>
                <a:gd name="T38" fmla="*/ 77 w 240"/>
                <a:gd name="T39" fmla="*/ 40 h 241"/>
                <a:gd name="T40" fmla="*/ 102 w 240"/>
                <a:gd name="T41" fmla="*/ 32 h 241"/>
                <a:gd name="T42" fmla="*/ 120 w 240"/>
                <a:gd name="T43" fmla="*/ 241 h 241"/>
                <a:gd name="T44" fmla="*/ 155 w 240"/>
                <a:gd name="T45" fmla="*/ 235 h 241"/>
                <a:gd name="T46" fmla="*/ 188 w 240"/>
                <a:gd name="T47" fmla="*/ 219 h 241"/>
                <a:gd name="T48" fmla="*/ 212 w 240"/>
                <a:gd name="T49" fmla="*/ 197 h 241"/>
                <a:gd name="T50" fmla="*/ 231 w 240"/>
                <a:gd name="T51" fmla="*/ 167 h 241"/>
                <a:gd name="T52" fmla="*/ 240 w 240"/>
                <a:gd name="T53" fmla="*/ 132 h 241"/>
                <a:gd name="T54" fmla="*/ 238 w 240"/>
                <a:gd name="T55" fmla="*/ 96 h 241"/>
                <a:gd name="T56" fmla="*/ 226 w 240"/>
                <a:gd name="T57" fmla="*/ 63 h 241"/>
                <a:gd name="T58" fmla="*/ 205 w 240"/>
                <a:gd name="T59" fmla="*/ 35 h 241"/>
                <a:gd name="T60" fmla="*/ 177 w 240"/>
                <a:gd name="T61" fmla="*/ 15 h 241"/>
                <a:gd name="T62" fmla="*/ 144 w 240"/>
                <a:gd name="T63" fmla="*/ 2 h 241"/>
                <a:gd name="T64" fmla="*/ 107 w 240"/>
                <a:gd name="T65" fmla="*/ 1 h 241"/>
                <a:gd name="T66" fmla="*/ 73 w 240"/>
                <a:gd name="T67" fmla="*/ 9 h 241"/>
                <a:gd name="T68" fmla="*/ 44 w 240"/>
                <a:gd name="T69" fmla="*/ 27 h 241"/>
                <a:gd name="T70" fmla="*/ 20 w 240"/>
                <a:gd name="T71" fmla="*/ 53 h 241"/>
                <a:gd name="T72" fmla="*/ 5 w 240"/>
                <a:gd name="T73" fmla="*/ 84 h 241"/>
                <a:gd name="T74" fmla="*/ 0 w 240"/>
                <a:gd name="T75" fmla="*/ 120 h 241"/>
                <a:gd name="T76" fmla="*/ 5 w 240"/>
                <a:gd name="T77" fmla="*/ 156 h 241"/>
                <a:gd name="T78" fmla="*/ 20 w 240"/>
                <a:gd name="T79" fmla="*/ 187 h 241"/>
                <a:gd name="T80" fmla="*/ 44 w 240"/>
                <a:gd name="T81" fmla="*/ 213 h 241"/>
                <a:gd name="T82" fmla="*/ 73 w 240"/>
                <a:gd name="T83" fmla="*/ 231 h 241"/>
                <a:gd name="T84" fmla="*/ 107 w 240"/>
                <a:gd name="T85" fmla="*/ 24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0" h="241">
                  <a:moveTo>
                    <a:pt x="120" y="30"/>
                  </a:moveTo>
                  <a:lnTo>
                    <a:pt x="129" y="31"/>
                  </a:lnTo>
                  <a:lnTo>
                    <a:pt x="138" y="32"/>
                  </a:lnTo>
                  <a:lnTo>
                    <a:pt x="147" y="34"/>
                  </a:lnTo>
                  <a:lnTo>
                    <a:pt x="155" y="37"/>
                  </a:lnTo>
                  <a:lnTo>
                    <a:pt x="163" y="40"/>
                  </a:lnTo>
                  <a:lnTo>
                    <a:pt x="171" y="46"/>
                  </a:lnTo>
                  <a:lnTo>
                    <a:pt x="177" y="50"/>
                  </a:lnTo>
                  <a:lnTo>
                    <a:pt x="183" y="56"/>
                  </a:lnTo>
                  <a:lnTo>
                    <a:pt x="190" y="63"/>
                  </a:lnTo>
                  <a:lnTo>
                    <a:pt x="195" y="69"/>
                  </a:lnTo>
                  <a:lnTo>
                    <a:pt x="199" y="77"/>
                  </a:lnTo>
                  <a:lnTo>
                    <a:pt x="203" y="85"/>
                  </a:lnTo>
                  <a:lnTo>
                    <a:pt x="206" y="93"/>
                  </a:lnTo>
                  <a:lnTo>
                    <a:pt x="208" y="101"/>
                  </a:lnTo>
                  <a:lnTo>
                    <a:pt x="210" y="111"/>
                  </a:lnTo>
                  <a:lnTo>
                    <a:pt x="210" y="120"/>
                  </a:lnTo>
                  <a:lnTo>
                    <a:pt x="210" y="129"/>
                  </a:lnTo>
                  <a:lnTo>
                    <a:pt x="208" y="138"/>
                  </a:lnTo>
                  <a:lnTo>
                    <a:pt x="206" y="146"/>
                  </a:lnTo>
                  <a:lnTo>
                    <a:pt x="203" y="155"/>
                  </a:lnTo>
                  <a:lnTo>
                    <a:pt x="199" y="163"/>
                  </a:lnTo>
                  <a:lnTo>
                    <a:pt x="195" y="170"/>
                  </a:lnTo>
                  <a:lnTo>
                    <a:pt x="190" y="178"/>
                  </a:lnTo>
                  <a:lnTo>
                    <a:pt x="183" y="184"/>
                  </a:lnTo>
                  <a:lnTo>
                    <a:pt x="177" y="189"/>
                  </a:lnTo>
                  <a:lnTo>
                    <a:pt x="171" y="195"/>
                  </a:lnTo>
                  <a:lnTo>
                    <a:pt x="163" y="199"/>
                  </a:lnTo>
                  <a:lnTo>
                    <a:pt x="155" y="203"/>
                  </a:lnTo>
                  <a:lnTo>
                    <a:pt x="147" y="206"/>
                  </a:lnTo>
                  <a:lnTo>
                    <a:pt x="138" y="209"/>
                  </a:lnTo>
                  <a:lnTo>
                    <a:pt x="129" y="210"/>
                  </a:lnTo>
                  <a:lnTo>
                    <a:pt x="120" y="211"/>
                  </a:lnTo>
                  <a:lnTo>
                    <a:pt x="110" y="210"/>
                  </a:lnTo>
                  <a:lnTo>
                    <a:pt x="102" y="209"/>
                  </a:lnTo>
                  <a:lnTo>
                    <a:pt x="93" y="206"/>
                  </a:lnTo>
                  <a:lnTo>
                    <a:pt x="85" y="203"/>
                  </a:lnTo>
                  <a:lnTo>
                    <a:pt x="77" y="199"/>
                  </a:lnTo>
                  <a:lnTo>
                    <a:pt x="70" y="195"/>
                  </a:lnTo>
                  <a:lnTo>
                    <a:pt x="62" y="189"/>
                  </a:lnTo>
                  <a:lnTo>
                    <a:pt x="56" y="184"/>
                  </a:lnTo>
                  <a:lnTo>
                    <a:pt x="50" y="178"/>
                  </a:lnTo>
                  <a:lnTo>
                    <a:pt x="45" y="170"/>
                  </a:lnTo>
                  <a:lnTo>
                    <a:pt x="41" y="164"/>
                  </a:lnTo>
                  <a:lnTo>
                    <a:pt x="36" y="155"/>
                  </a:lnTo>
                  <a:lnTo>
                    <a:pt x="34" y="146"/>
                  </a:lnTo>
                  <a:lnTo>
                    <a:pt x="31" y="138"/>
                  </a:lnTo>
                  <a:lnTo>
                    <a:pt x="30" y="129"/>
                  </a:lnTo>
                  <a:lnTo>
                    <a:pt x="30" y="120"/>
                  </a:lnTo>
                  <a:lnTo>
                    <a:pt x="30" y="111"/>
                  </a:lnTo>
                  <a:lnTo>
                    <a:pt x="31" y="101"/>
                  </a:lnTo>
                  <a:lnTo>
                    <a:pt x="34" y="93"/>
                  </a:lnTo>
                  <a:lnTo>
                    <a:pt x="36" y="85"/>
                  </a:lnTo>
                  <a:lnTo>
                    <a:pt x="41" y="77"/>
                  </a:lnTo>
                  <a:lnTo>
                    <a:pt x="45" y="69"/>
                  </a:lnTo>
                  <a:lnTo>
                    <a:pt x="50" y="63"/>
                  </a:lnTo>
                  <a:lnTo>
                    <a:pt x="56" y="56"/>
                  </a:lnTo>
                  <a:lnTo>
                    <a:pt x="62" y="50"/>
                  </a:lnTo>
                  <a:lnTo>
                    <a:pt x="70" y="46"/>
                  </a:lnTo>
                  <a:lnTo>
                    <a:pt x="77" y="40"/>
                  </a:lnTo>
                  <a:lnTo>
                    <a:pt x="85" y="37"/>
                  </a:lnTo>
                  <a:lnTo>
                    <a:pt x="93" y="34"/>
                  </a:lnTo>
                  <a:lnTo>
                    <a:pt x="102" y="32"/>
                  </a:lnTo>
                  <a:lnTo>
                    <a:pt x="110" y="31"/>
                  </a:lnTo>
                  <a:lnTo>
                    <a:pt x="120" y="30"/>
                  </a:lnTo>
                  <a:close/>
                  <a:moveTo>
                    <a:pt x="120" y="241"/>
                  </a:moveTo>
                  <a:lnTo>
                    <a:pt x="132" y="240"/>
                  </a:lnTo>
                  <a:lnTo>
                    <a:pt x="144" y="238"/>
                  </a:lnTo>
                  <a:lnTo>
                    <a:pt x="155" y="235"/>
                  </a:lnTo>
                  <a:lnTo>
                    <a:pt x="167" y="231"/>
                  </a:lnTo>
                  <a:lnTo>
                    <a:pt x="177" y="226"/>
                  </a:lnTo>
                  <a:lnTo>
                    <a:pt x="188" y="219"/>
                  </a:lnTo>
                  <a:lnTo>
                    <a:pt x="196" y="213"/>
                  </a:lnTo>
                  <a:lnTo>
                    <a:pt x="205" y="205"/>
                  </a:lnTo>
                  <a:lnTo>
                    <a:pt x="212" y="197"/>
                  </a:lnTo>
                  <a:lnTo>
                    <a:pt x="220" y="187"/>
                  </a:lnTo>
                  <a:lnTo>
                    <a:pt x="226" y="178"/>
                  </a:lnTo>
                  <a:lnTo>
                    <a:pt x="231" y="167"/>
                  </a:lnTo>
                  <a:lnTo>
                    <a:pt x="235" y="156"/>
                  </a:lnTo>
                  <a:lnTo>
                    <a:pt x="238" y="144"/>
                  </a:lnTo>
                  <a:lnTo>
                    <a:pt x="240" y="132"/>
                  </a:lnTo>
                  <a:lnTo>
                    <a:pt x="240" y="120"/>
                  </a:lnTo>
                  <a:lnTo>
                    <a:pt x="240" y="108"/>
                  </a:lnTo>
                  <a:lnTo>
                    <a:pt x="238" y="96"/>
                  </a:lnTo>
                  <a:lnTo>
                    <a:pt x="235" y="84"/>
                  </a:lnTo>
                  <a:lnTo>
                    <a:pt x="231" y="74"/>
                  </a:lnTo>
                  <a:lnTo>
                    <a:pt x="226" y="63"/>
                  </a:lnTo>
                  <a:lnTo>
                    <a:pt x="220" y="53"/>
                  </a:lnTo>
                  <a:lnTo>
                    <a:pt x="212" y="43"/>
                  </a:lnTo>
                  <a:lnTo>
                    <a:pt x="205" y="35"/>
                  </a:lnTo>
                  <a:lnTo>
                    <a:pt x="196" y="27"/>
                  </a:lnTo>
                  <a:lnTo>
                    <a:pt x="188" y="20"/>
                  </a:lnTo>
                  <a:lnTo>
                    <a:pt x="177" y="15"/>
                  </a:lnTo>
                  <a:lnTo>
                    <a:pt x="167" y="9"/>
                  </a:lnTo>
                  <a:lnTo>
                    <a:pt x="155" y="5"/>
                  </a:lnTo>
                  <a:lnTo>
                    <a:pt x="144" y="2"/>
                  </a:lnTo>
                  <a:lnTo>
                    <a:pt x="132" y="1"/>
                  </a:lnTo>
                  <a:lnTo>
                    <a:pt x="120" y="0"/>
                  </a:lnTo>
                  <a:lnTo>
                    <a:pt x="107" y="1"/>
                  </a:lnTo>
                  <a:lnTo>
                    <a:pt x="95" y="2"/>
                  </a:lnTo>
                  <a:lnTo>
                    <a:pt x="85" y="5"/>
                  </a:lnTo>
                  <a:lnTo>
                    <a:pt x="73" y="9"/>
                  </a:lnTo>
                  <a:lnTo>
                    <a:pt x="62" y="15"/>
                  </a:lnTo>
                  <a:lnTo>
                    <a:pt x="53" y="20"/>
                  </a:lnTo>
                  <a:lnTo>
                    <a:pt x="44" y="27"/>
                  </a:lnTo>
                  <a:lnTo>
                    <a:pt x="35" y="35"/>
                  </a:lnTo>
                  <a:lnTo>
                    <a:pt x="27" y="43"/>
                  </a:lnTo>
                  <a:lnTo>
                    <a:pt x="20" y="53"/>
                  </a:lnTo>
                  <a:lnTo>
                    <a:pt x="14" y="63"/>
                  </a:lnTo>
                  <a:lnTo>
                    <a:pt x="10" y="74"/>
                  </a:lnTo>
                  <a:lnTo>
                    <a:pt x="5" y="84"/>
                  </a:lnTo>
                  <a:lnTo>
                    <a:pt x="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0" y="132"/>
                  </a:lnTo>
                  <a:lnTo>
                    <a:pt x="2" y="144"/>
                  </a:lnTo>
                  <a:lnTo>
                    <a:pt x="5" y="156"/>
                  </a:lnTo>
                  <a:lnTo>
                    <a:pt x="10" y="167"/>
                  </a:lnTo>
                  <a:lnTo>
                    <a:pt x="14" y="178"/>
                  </a:lnTo>
                  <a:lnTo>
                    <a:pt x="20" y="187"/>
                  </a:lnTo>
                  <a:lnTo>
                    <a:pt x="27" y="197"/>
                  </a:lnTo>
                  <a:lnTo>
                    <a:pt x="35" y="205"/>
                  </a:lnTo>
                  <a:lnTo>
                    <a:pt x="44" y="213"/>
                  </a:lnTo>
                  <a:lnTo>
                    <a:pt x="53" y="219"/>
                  </a:lnTo>
                  <a:lnTo>
                    <a:pt x="62" y="226"/>
                  </a:lnTo>
                  <a:lnTo>
                    <a:pt x="73" y="231"/>
                  </a:lnTo>
                  <a:lnTo>
                    <a:pt x="85" y="235"/>
                  </a:lnTo>
                  <a:lnTo>
                    <a:pt x="95" y="238"/>
                  </a:lnTo>
                  <a:lnTo>
                    <a:pt x="107" y="240"/>
                  </a:lnTo>
                  <a:lnTo>
                    <a:pt x="120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765808" y="4714610"/>
            <a:ext cx="285750" cy="277813"/>
            <a:chOff x="11028363" y="2508250"/>
            <a:chExt cx="285750" cy="277813"/>
          </a:xfrm>
          <a:solidFill>
            <a:schemeClr val="bg1"/>
          </a:solidFill>
        </p:grpSpPr>
        <p:sp>
          <p:nvSpPr>
            <p:cNvPr id="41" name="Freeform 70"/>
            <p:cNvSpPr>
              <a:spLocks/>
            </p:cNvSpPr>
            <p:nvPr/>
          </p:nvSpPr>
          <p:spPr bwMode="auto">
            <a:xfrm>
              <a:off x="11060113" y="2508250"/>
              <a:ext cx="225425" cy="157163"/>
            </a:xfrm>
            <a:custGeom>
              <a:avLst/>
              <a:gdLst>
                <a:gd name="T0" fmla="*/ 19 w 711"/>
                <a:gd name="T1" fmla="*/ 494 h 494"/>
                <a:gd name="T2" fmla="*/ 678 w 711"/>
                <a:gd name="T3" fmla="*/ 60 h 494"/>
                <a:gd name="T4" fmla="*/ 667 w 711"/>
                <a:gd name="T5" fmla="*/ 167 h 494"/>
                <a:gd name="T6" fmla="*/ 668 w 711"/>
                <a:gd name="T7" fmla="*/ 173 h 494"/>
                <a:gd name="T8" fmla="*/ 671 w 711"/>
                <a:gd name="T9" fmla="*/ 177 h 494"/>
                <a:gd name="T10" fmla="*/ 677 w 711"/>
                <a:gd name="T11" fmla="*/ 180 h 494"/>
                <a:gd name="T12" fmla="*/ 681 w 711"/>
                <a:gd name="T13" fmla="*/ 181 h 494"/>
                <a:gd name="T14" fmla="*/ 687 w 711"/>
                <a:gd name="T15" fmla="*/ 180 h 494"/>
                <a:gd name="T16" fmla="*/ 695 w 711"/>
                <a:gd name="T17" fmla="*/ 173 h 494"/>
                <a:gd name="T18" fmla="*/ 711 w 711"/>
                <a:gd name="T19" fmla="*/ 33 h 494"/>
                <a:gd name="T20" fmla="*/ 711 w 711"/>
                <a:gd name="T21" fmla="*/ 30 h 494"/>
                <a:gd name="T22" fmla="*/ 711 w 711"/>
                <a:gd name="T23" fmla="*/ 27 h 494"/>
                <a:gd name="T24" fmla="*/ 710 w 711"/>
                <a:gd name="T25" fmla="*/ 24 h 494"/>
                <a:gd name="T26" fmla="*/ 709 w 711"/>
                <a:gd name="T27" fmla="*/ 22 h 494"/>
                <a:gd name="T28" fmla="*/ 709 w 711"/>
                <a:gd name="T29" fmla="*/ 22 h 494"/>
                <a:gd name="T30" fmla="*/ 707 w 711"/>
                <a:gd name="T31" fmla="*/ 20 h 494"/>
                <a:gd name="T32" fmla="*/ 705 w 711"/>
                <a:gd name="T33" fmla="*/ 18 h 494"/>
                <a:gd name="T34" fmla="*/ 701 w 711"/>
                <a:gd name="T35" fmla="*/ 16 h 494"/>
                <a:gd name="T36" fmla="*/ 699 w 711"/>
                <a:gd name="T37" fmla="*/ 15 h 494"/>
                <a:gd name="T38" fmla="*/ 698 w 711"/>
                <a:gd name="T39" fmla="*/ 15 h 494"/>
                <a:gd name="T40" fmla="*/ 560 w 711"/>
                <a:gd name="T41" fmla="*/ 0 h 494"/>
                <a:gd name="T42" fmla="*/ 555 w 711"/>
                <a:gd name="T43" fmla="*/ 3 h 494"/>
                <a:gd name="T44" fmla="*/ 550 w 711"/>
                <a:gd name="T45" fmla="*/ 6 h 494"/>
                <a:gd name="T46" fmla="*/ 547 w 711"/>
                <a:gd name="T47" fmla="*/ 11 h 494"/>
                <a:gd name="T48" fmla="*/ 546 w 711"/>
                <a:gd name="T49" fmla="*/ 16 h 494"/>
                <a:gd name="T50" fmla="*/ 548 w 711"/>
                <a:gd name="T51" fmla="*/ 23 h 494"/>
                <a:gd name="T52" fmla="*/ 551 w 711"/>
                <a:gd name="T53" fmla="*/ 27 h 494"/>
                <a:gd name="T54" fmla="*/ 557 w 711"/>
                <a:gd name="T55" fmla="*/ 30 h 494"/>
                <a:gd name="T56" fmla="*/ 653 w 711"/>
                <a:gd name="T57" fmla="*/ 41 h 494"/>
                <a:gd name="T58" fmla="*/ 4 w 711"/>
                <a:gd name="T59" fmla="*/ 468 h 494"/>
                <a:gd name="T60" fmla="*/ 1 w 711"/>
                <a:gd name="T61" fmla="*/ 474 h 494"/>
                <a:gd name="T62" fmla="*/ 0 w 711"/>
                <a:gd name="T63" fmla="*/ 479 h 494"/>
                <a:gd name="T64" fmla="*/ 1 w 711"/>
                <a:gd name="T65" fmla="*/ 485 h 494"/>
                <a:gd name="T66" fmla="*/ 5 w 711"/>
                <a:gd name="T67" fmla="*/ 490 h 494"/>
                <a:gd name="T68" fmla="*/ 11 w 711"/>
                <a:gd name="T69" fmla="*/ 494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11" h="494">
                  <a:moveTo>
                    <a:pt x="15" y="494"/>
                  </a:moveTo>
                  <a:lnTo>
                    <a:pt x="19" y="494"/>
                  </a:lnTo>
                  <a:lnTo>
                    <a:pt x="23" y="492"/>
                  </a:lnTo>
                  <a:lnTo>
                    <a:pt x="678" y="60"/>
                  </a:lnTo>
                  <a:lnTo>
                    <a:pt x="667" y="164"/>
                  </a:lnTo>
                  <a:lnTo>
                    <a:pt x="667" y="167"/>
                  </a:lnTo>
                  <a:lnTo>
                    <a:pt x="667" y="170"/>
                  </a:lnTo>
                  <a:lnTo>
                    <a:pt x="668" y="173"/>
                  </a:lnTo>
                  <a:lnTo>
                    <a:pt x="670" y="175"/>
                  </a:lnTo>
                  <a:lnTo>
                    <a:pt x="671" y="177"/>
                  </a:lnTo>
                  <a:lnTo>
                    <a:pt x="675" y="179"/>
                  </a:lnTo>
                  <a:lnTo>
                    <a:pt x="677" y="180"/>
                  </a:lnTo>
                  <a:lnTo>
                    <a:pt x="680" y="180"/>
                  </a:lnTo>
                  <a:lnTo>
                    <a:pt x="681" y="181"/>
                  </a:lnTo>
                  <a:lnTo>
                    <a:pt x="682" y="181"/>
                  </a:lnTo>
                  <a:lnTo>
                    <a:pt x="687" y="180"/>
                  </a:lnTo>
                  <a:lnTo>
                    <a:pt x="692" y="177"/>
                  </a:lnTo>
                  <a:lnTo>
                    <a:pt x="695" y="173"/>
                  </a:lnTo>
                  <a:lnTo>
                    <a:pt x="696" y="167"/>
                  </a:lnTo>
                  <a:lnTo>
                    <a:pt x="711" y="33"/>
                  </a:lnTo>
                  <a:lnTo>
                    <a:pt x="711" y="31"/>
                  </a:lnTo>
                  <a:lnTo>
                    <a:pt x="711" y="30"/>
                  </a:lnTo>
                  <a:lnTo>
                    <a:pt x="711" y="28"/>
                  </a:lnTo>
                  <a:lnTo>
                    <a:pt x="711" y="27"/>
                  </a:lnTo>
                  <a:lnTo>
                    <a:pt x="711" y="26"/>
                  </a:lnTo>
                  <a:lnTo>
                    <a:pt x="710" y="24"/>
                  </a:lnTo>
                  <a:lnTo>
                    <a:pt x="710" y="23"/>
                  </a:lnTo>
                  <a:lnTo>
                    <a:pt x="709" y="22"/>
                  </a:lnTo>
                  <a:lnTo>
                    <a:pt x="709" y="22"/>
                  </a:lnTo>
                  <a:lnTo>
                    <a:pt x="709" y="22"/>
                  </a:lnTo>
                  <a:lnTo>
                    <a:pt x="708" y="21"/>
                  </a:lnTo>
                  <a:lnTo>
                    <a:pt x="707" y="20"/>
                  </a:lnTo>
                  <a:lnTo>
                    <a:pt x="706" y="19"/>
                  </a:lnTo>
                  <a:lnTo>
                    <a:pt x="705" y="18"/>
                  </a:lnTo>
                  <a:lnTo>
                    <a:pt x="703" y="18"/>
                  </a:lnTo>
                  <a:lnTo>
                    <a:pt x="701" y="16"/>
                  </a:lnTo>
                  <a:lnTo>
                    <a:pt x="700" y="16"/>
                  </a:lnTo>
                  <a:lnTo>
                    <a:pt x="699" y="15"/>
                  </a:lnTo>
                  <a:lnTo>
                    <a:pt x="698" y="15"/>
                  </a:lnTo>
                  <a:lnTo>
                    <a:pt x="698" y="15"/>
                  </a:lnTo>
                  <a:lnTo>
                    <a:pt x="563" y="0"/>
                  </a:lnTo>
                  <a:lnTo>
                    <a:pt x="560" y="0"/>
                  </a:lnTo>
                  <a:lnTo>
                    <a:pt x="557" y="1"/>
                  </a:lnTo>
                  <a:lnTo>
                    <a:pt x="555" y="3"/>
                  </a:lnTo>
                  <a:lnTo>
                    <a:pt x="552" y="4"/>
                  </a:lnTo>
                  <a:lnTo>
                    <a:pt x="550" y="6"/>
                  </a:lnTo>
                  <a:lnTo>
                    <a:pt x="548" y="8"/>
                  </a:lnTo>
                  <a:lnTo>
                    <a:pt x="547" y="11"/>
                  </a:lnTo>
                  <a:lnTo>
                    <a:pt x="546" y="14"/>
                  </a:lnTo>
                  <a:lnTo>
                    <a:pt x="546" y="16"/>
                  </a:lnTo>
                  <a:lnTo>
                    <a:pt x="547" y="20"/>
                  </a:lnTo>
                  <a:lnTo>
                    <a:pt x="548" y="23"/>
                  </a:lnTo>
                  <a:lnTo>
                    <a:pt x="549" y="25"/>
                  </a:lnTo>
                  <a:lnTo>
                    <a:pt x="551" y="27"/>
                  </a:lnTo>
                  <a:lnTo>
                    <a:pt x="553" y="28"/>
                  </a:lnTo>
                  <a:lnTo>
                    <a:pt x="557" y="30"/>
                  </a:lnTo>
                  <a:lnTo>
                    <a:pt x="560" y="30"/>
                  </a:lnTo>
                  <a:lnTo>
                    <a:pt x="653" y="41"/>
                  </a:lnTo>
                  <a:lnTo>
                    <a:pt x="6" y="466"/>
                  </a:lnTo>
                  <a:lnTo>
                    <a:pt x="4" y="468"/>
                  </a:lnTo>
                  <a:lnTo>
                    <a:pt x="2" y="471"/>
                  </a:lnTo>
                  <a:lnTo>
                    <a:pt x="1" y="474"/>
                  </a:lnTo>
                  <a:lnTo>
                    <a:pt x="0" y="476"/>
                  </a:lnTo>
                  <a:lnTo>
                    <a:pt x="0" y="479"/>
                  </a:lnTo>
                  <a:lnTo>
                    <a:pt x="0" y="482"/>
                  </a:lnTo>
                  <a:lnTo>
                    <a:pt x="1" y="485"/>
                  </a:lnTo>
                  <a:lnTo>
                    <a:pt x="2" y="488"/>
                  </a:lnTo>
                  <a:lnTo>
                    <a:pt x="5" y="490"/>
                  </a:lnTo>
                  <a:lnTo>
                    <a:pt x="8" y="492"/>
                  </a:lnTo>
                  <a:lnTo>
                    <a:pt x="11" y="494"/>
                  </a:lnTo>
                  <a:lnTo>
                    <a:pt x="15" y="4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6" name="Freeform 71"/>
            <p:cNvSpPr>
              <a:spLocks noEditPoints="1"/>
            </p:cNvSpPr>
            <p:nvPr/>
          </p:nvSpPr>
          <p:spPr bwMode="auto">
            <a:xfrm>
              <a:off x="11028363" y="2593975"/>
              <a:ext cx="285750" cy="192088"/>
            </a:xfrm>
            <a:custGeom>
              <a:avLst/>
              <a:gdLst>
                <a:gd name="T0" fmla="*/ 812 w 902"/>
                <a:gd name="T1" fmla="*/ 30 h 601"/>
                <a:gd name="T2" fmla="*/ 511 w 902"/>
                <a:gd name="T3" fmla="*/ 571 h 601"/>
                <a:gd name="T4" fmla="*/ 601 w 902"/>
                <a:gd name="T5" fmla="*/ 571 h 601"/>
                <a:gd name="T6" fmla="*/ 300 w 902"/>
                <a:gd name="T7" fmla="*/ 330 h 601"/>
                <a:gd name="T8" fmla="*/ 300 w 902"/>
                <a:gd name="T9" fmla="*/ 571 h 601"/>
                <a:gd name="T10" fmla="*/ 180 w 902"/>
                <a:gd name="T11" fmla="*/ 481 h 601"/>
                <a:gd name="T12" fmla="*/ 887 w 902"/>
                <a:gd name="T13" fmla="*/ 571 h 601"/>
                <a:gd name="T14" fmla="*/ 841 w 902"/>
                <a:gd name="T15" fmla="*/ 12 h 601"/>
                <a:gd name="T16" fmla="*/ 838 w 902"/>
                <a:gd name="T17" fmla="*/ 5 h 601"/>
                <a:gd name="T18" fmla="*/ 829 w 902"/>
                <a:gd name="T19" fmla="*/ 0 h 601"/>
                <a:gd name="T20" fmla="*/ 704 w 902"/>
                <a:gd name="T21" fmla="*/ 0 h 601"/>
                <a:gd name="T22" fmla="*/ 695 w 902"/>
                <a:gd name="T23" fmla="*/ 5 h 601"/>
                <a:gd name="T24" fmla="*/ 692 w 902"/>
                <a:gd name="T25" fmla="*/ 12 h 601"/>
                <a:gd name="T26" fmla="*/ 631 w 902"/>
                <a:gd name="T27" fmla="*/ 571 h 601"/>
                <a:gd name="T28" fmla="*/ 630 w 902"/>
                <a:gd name="T29" fmla="*/ 160 h 601"/>
                <a:gd name="T30" fmla="*/ 625 w 902"/>
                <a:gd name="T31" fmla="*/ 152 h 601"/>
                <a:gd name="T32" fmla="*/ 616 w 902"/>
                <a:gd name="T33" fmla="*/ 150 h 601"/>
                <a:gd name="T34" fmla="*/ 490 w 902"/>
                <a:gd name="T35" fmla="*/ 151 h 601"/>
                <a:gd name="T36" fmla="*/ 483 w 902"/>
                <a:gd name="T37" fmla="*/ 157 h 601"/>
                <a:gd name="T38" fmla="*/ 481 w 902"/>
                <a:gd name="T39" fmla="*/ 165 h 601"/>
                <a:gd name="T40" fmla="*/ 421 w 902"/>
                <a:gd name="T41" fmla="*/ 315 h 601"/>
                <a:gd name="T42" fmla="*/ 418 w 902"/>
                <a:gd name="T43" fmla="*/ 308 h 601"/>
                <a:gd name="T44" fmla="*/ 411 w 902"/>
                <a:gd name="T45" fmla="*/ 302 h 601"/>
                <a:gd name="T46" fmla="*/ 285 w 902"/>
                <a:gd name="T47" fmla="*/ 300 h 601"/>
                <a:gd name="T48" fmla="*/ 277 w 902"/>
                <a:gd name="T49" fmla="*/ 304 h 601"/>
                <a:gd name="T50" fmla="*/ 271 w 902"/>
                <a:gd name="T51" fmla="*/ 310 h 601"/>
                <a:gd name="T52" fmla="*/ 270 w 902"/>
                <a:gd name="T53" fmla="*/ 571 h 601"/>
                <a:gd name="T54" fmla="*/ 210 w 902"/>
                <a:gd name="T55" fmla="*/ 463 h 601"/>
                <a:gd name="T56" fmla="*/ 206 w 902"/>
                <a:gd name="T57" fmla="*/ 456 h 601"/>
                <a:gd name="T58" fmla="*/ 198 w 902"/>
                <a:gd name="T59" fmla="*/ 451 h 601"/>
                <a:gd name="T60" fmla="*/ 72 w 902"/>
                <a:gd name="T61" fmla="*/ 451 h 601"/>
                <a:gd name="T62" fmla="*/ 64 w 902"/>
                <a:gd name="T63" fmla="*/ 456 h 601"/>
                <a:gd name="T64" fmla="*/ 60 w 902"/>
                <a:gd name="T65" fmla="*/ 463 h 601"/>
                <a:gd name="T66" fmla="*/ 15 w 902"/>
                <a:gd name="T67" fmla="*/ 571 h 601"/>
                <a:gd name="T68" fmla="*/ 6 w 902"/>
                <a:gd name="T69" fmla="*/ 573 h 601"/>
                <a:gd name="T70" fmla="*/ 1 w 902"/>
                <a:gd name="T71" fmla="*/ 581 h 601"/>
                <a:gd name="T72" fmla="*/ 0 w 902"/>
                <a:gd name="T73" fmla="*/ 590 h 601"/>
                <a:gd name="T74" fmla="*/ 4 w 902"/>
                <a:gd name="T75" fmla="*/ 597 h 601"/>
                <a:gd name="T76" fmla="*/ 12 w 902"/>
                <a:gd name="T77" fmla="*/ 601 h 601"/>
                <a:gd name="T78" fmla="*/ 195 w 902"/>
                <a:gd name="T79" fmla="*/ 601 h 601"/>
                <a:gd name="T80" fmla="*/ 496 w 902"/>
                <a:gd name="T81" fmla="*/ 601 h 601"/>
                <a:gd name="T82" fmla="*/ 827 w 902"/>
                <a:gd name="T83" fmla="*/ 601 h 601"/>
                <a:gd name="T84" fmla="*/ 892 w 902"/>
                <a:gd name="T85" fmla="*/ 600 h 601"/>
                <a:gd name="T86" fmla="*/ 899 w 902"/>
                <a:gd name="T87" fmla="*/ 595 h 601"/>
                <a:gd name="T88" fmla="*/ 902 w 902"/>
                <a:gd name="T89" fmla="*/ 586 h 601"/>
                <a:gd name="T90" fmla="*/ 899 w 902"/>
                <a:gd name="T91" fmla="*/ 578 h 601"/>
                <a:gd name="T92" fmla="*/ 892 w 902"/>
                <a:gd name="T93" fmla="*/ 572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2" h="601">
                  <a:moveTo>
                    <a:pt x="721" y="571"/>
                  </a:moveTo>
                  <a:lnTo>
                    <a:pt x="721" y="30"/>
                  </a:lnTo>
                  <a:lnTo>
                    <a:pt x="812" y="30"/>
                  </a:lnTo>
                  <a:lnTo>
                    <a:pt x="812" y="571"/>
                  </a:lnTo>
                  <a:lnTo>
                    <a:pt x="721" y="571"/>
                  </a:lnTo>
                  <a:close/>
                  <a:moveTo>
                    <a:pt x="511" y="571"/>
                  </a:moveTo>
                  <a:lnTo>
                    <a:pt x="511" y="180"/>
                  </a:lnTo>
                  <a:lnTo>
                    <a:pt x="601" y="180"/>
                  </a:lnTo>
                  <a:lnTo>
                    <a:pt x="601" y="571"/>
                  </a:lnTo>
                  <a:lnTo>
                    <a:pt x="511" y="571"/>
                  </a:lnTo>
                  <a:close/>
                  <a:moveTo>
                    <a:pt x="300" y="571"/>
                  </a:moveTo>
                  <a:lnTo>
                    <a:pt x="300" y="330"/>
                  </a:lnTo>
                  <a:lnTo>
                    <a:pt x="391" y="330"/>
                  </a:lnTo>
                  <a:lnTo>
                    <a:pt x="391" y="571"/>
                  </a:lnTo>
                  <a:lnTo>
                    <a:pt x="300" y="571"/>
                  </a:lnTo>
                  <a:close/>
                  <a:moveTo>
                    <a:pt x="90" y="571"/>
                  </a:moveTo>
                  <a:lnTo>
                    <a:pt x="90" y="481"/>
                  </a:lnTo>
                  <a:lnTo>
                    <a:pt x="180" y="481"/>
                  </a:lnTo>
                  <a:lnTo>
                    <a:pt x="180" y="571"/>
                  </a:lnTo>
                  <a:lnTo>
                    <a:pt x="90" y="571"/>
                  </a:lnTo>
                  <a:close/>
                  <a:moveTo>
                    <a:pt x="887" y="571"/>
                  </a:moveTo>
                  <a:lnTo>
                    <a:pt x="842" y="571"/>
                  </a:lnTo>
                  <a:lnTo>
                    <a:pt x="842" y="15"/>
                  </a:lnTo>
                  <a:lnTo>
                    <a:pt x="841" y="12"/>
                  </a:lnTo>
                  <a:lnTo>
                    <a:pt x="841" y="9"/>
                  </a:lnTo>
                  <a:lnTo>
                    <a:pt x="839" y="7"/>
                  </a:lnTo>
                  <a:lnTo>
                    <a:pt x="838" y="5"/>
                  </a:lnTo>
                  <a:lnTo>
                    <a:pt x="835" y="3"/>
                  </a:lnTo>
                  <a:lnTo>
                    <a:pt x="832" y="1"/>
                  </a:lnTo>
                  <a:lnTo>
                    <a:pt x="829" y="0"/>
                  </a:lnTo>
                  <a:lnTo>
                    <a:pt x="827" y="0"/>
                  </a:lnTo>
                  <a:lnTo>
                    <a:pt x="706" y="0"/>
                  </a:lnTo>
                  <a:lnTo>
                    <a:pt x="704" y="0"/>
                  </a:lnTo>
                  <a:lnTo>
                    <a:pt x="701" y="1"/>
                  </a:lnTo>
                  <a:lnTo>
                    <a:pt x="698" y="3"/>
                  </a:lnTo>
                  <a:lnTo>
                    <a:pt x="695" y="5"/>
                  </a:lnTo>
                  <a:lnTo>
                    <a:pt x="694" y="7"/>
                  </a:lnTo>
                  <a:lnTo>
                    <a:pt x="692" y="9"/>
                  </a:lnTo>
                  <a:lnTo>
                    <a:pt x="692" y="12"/>
                  </a:lnTo>
                  <a:lnTo>
                    <a:pt x="691" y="15"/>
                  </a:lnTo>
                  <a:lnTo>
                    <a:pt x="691" y="571"/>
                  </a:lnTo>
                  <a:lnTo>
                    <a:pt x="631" y="571"/>
                  </a:lnTo>
                  <a:lnTo>
                    <a:pt x="631" y="165"/>
                  </a:lnTo>
                  <a:lnTo>
                    <a:pt x="631" y="162"/>
                  </a:lnTo>
                  <a:lnTo>
                    <a:pt x="630" y="160"/>
                  </a:lnTo>
                  <a:lnTo>
                    <a:pt x="629" y="157"/>
                  </a:lnTo>
                  <a:lnTo>
                    <a:pt x="627" y="155"/>
                  </a:lnTo>
                  <a:lnTo>
                    <a:pt x="625" y="152"/>
                  </a:lnTo>
                  <a:lnTo>
                    <a:pt x="622" y="151"/>
                  </a:lnTo>
                  <a:lnTo>
                    <a:pt x="619" y="150"/>
                  </a:lnTo>
                  <a:lnTo>
                    <a:pt x="616" y="150"/>
                  </a:lnTo>
                  <a:lnTo>
                    <a:pt x="496" y="150"/>
                  </a:lnTo>
                  <a:lnTo>
                    <a:pt x="493" y="150"/>
                  </a:lnTo>
                  <a:lnTo>
                    <a:pt x="490" y="151"/>
                  </a:lnTo>
                  <a:lnTo>
                    <a:pt x="487" y="154"/>
                  </a:lnTo>
                  <a:lnTo>
                    <a:pt x="485" y="155"/>
                  </a:lnTo>
                  <a:lnTo>
                    <a:pt x="483" y="157"/>
                  </a:lnTo>
                  <a:lnTo>
                    <a:pt x="482" y="160"/>
                  </a:lnTo>
                  <a:lnTo>
                    <a:pt x="481" y="162"/>
                  </a:lnTo>
                  <a:lnTo>
                    <a:pt x="481" y="165"/>
                  </a:lnTo>
                  <a:lnTo>
                    <a:pt x="481" y="571"/>
                  </a:lnTo>
                  <a:lnTo>
                    <a:pt x="421" y="571"/>
                  </a:lnTo>
                  <a:lnTo>
                    <a:pt x="421" y="315"/>
                  </a:lnTo>
                  <a:lnTo>
                    <a:pt x="420" y="313"/>
                  </a:lnTo>
                  <a:lnTo>
                    <a:pt x="420" y="310"/>
                  </a:lnTo>
                  <a:lnTo>
                    <a:pt x="418" y="308"/>
                  </a:lnTo>
                  <a:lnTo>
                    <a:pt x="417" y="306"/>
                  </a:lnTo>
                  <a:lnTo>
                    <a:pt x="414" y="304"/>
                  </a:lnTo>
                  <a:lnTo>
                    <a:pt x="411" y="302"/>
                  </a:lnTo>
                  <a:lnTo>
                    <a:pt x="408" y="301"/>
                  </a:lnTo>
                  <a:lnTo>
                    <a:pt x="406" y="300"/>
                  </a:lnTo>
                  <a:lnTo>
                    <a:pt x="285" y="300"/>
                  </a:lnTo>
                  <a:lnTo>
                    <a:pt x="283" y="301"/>
                  </a:lnTo>
                  <a:lnTo>
                    <a:pt x="280" y="302"/>
                  </a:lnTo>
                  <a:lnTo>
                    <a:pt x="277" y="304"/>
                  </a:lnTo>
                  <a:lnTo>
                    <a:pt x="274" y="306"/>
                  </a:lnTo>
                  <a:lnTo>
                    <a:pt x="273" y="308"/>
                  </a:lnTo>
                  <a:lnTo>
                    <a:pt x="271" y="310"/>
                  </a:lnTo>
                  <a:lnTo>
                    <a:pt x="271" y="313"/>
                  </a:lnTo>
                  <a:lnTo>
                    <a:pt x="270" y="316"/>
                  </a:lnTo>
                  <a:lnTo>
                    <a:pt x="270" y="571"/>
                  </a:lnTo>
                  <a:lnTo>
                    <a:pt x="210" y="571"/>
                  </a:lnTo>
                  <a:lnTo>
                    <a:pt x="210" y="466"/>
                  </a:lnTo>
                  <a:lnTo>
                    <a:pt x="210" y="463"/>
                  </a:lnTo>
                  <a:lnTo>
                    <a:pt x="209" y="460"/>
                  </a:lnTo>
                  <a:lnTo>
                    <a:pt x="208" y="458"/>
                  </a:lnTo>
                  <a:lnTo>
                    <a:pt x="206" y="456"/>
                  </a:lnTo>
                  <a:lnTo>
                    <a:pt x="204" y="454"/>
                  </a:lnTo>
                  <a:lnTo>
                    <a:pt x="201" y="452"/>
                  </a:lnTo>
                  <a:lnTo>
                    <a:pt x="198" y="451"/>
                  </a:lnTo>
                  <a:lnTo>
                    <a:pt x="195" y="451"/>
                  </a:lnTo>
                  <a:lnTo>
                    <a:pt x="75" y="451"/>
                  </a:lnTo>
                  <a:lnTo>
                    <a:pt x="72" y="451"/>
                  </a:lnTo>
                  <a:lnTo>
                    <a:pt x="69" y="452"/>
                  </a:lnTo>
                  <a:lnTo>
                    <a:pt x="66" y="454"/>
                  </a:lnTo>
                  <a:lnTo>
                    <a:pt x="64" y="456"/>
                  </a:lnTo>
                  <a:lnTo>
                    <a:pt x="62" y="458"/>
                  </a:lnTo>
                  <a:lnTo>
                    <a:pt x="61" y="460"/>
                  </a:lnTo>
                  <a:lnTo>
                    <a:pt x="60" y="463"/>
                  </a:lnTo>
                  <a:lnTo>
                    <a:pt x="60" y="466"/>
                  </a:lnTo>
                  <a:lnTo>
                    <a:pt x="60" y="571"/>
                  </a:lnTo>
                  <a:lnTo>
                    <a:pt x="15" y="571"/>
                  </a:lnTo>
                  <a:lnTo>
                    <a:pt x="12" y="571"/>
                  </a:lnTo>
                  <a:lnTo>
                    <a:pt x="9" y="572"/>
                  </a:lnTo>
                  <a:lnTo>
                    <a:pt x="6" y="573"/>
                  </a:lnTo>
                  <a:lnTo>
                    <a:pt x="4" y="576"/>
                  </a:lnTo>
                  <a:lnTo>
                    <a:pt x="2" y="578"/>
                  </a:lnTo>
                  <a:lnTo>
                    <a:pt x="1" y="581"/>
                  </a:lnTo>
                  <a:lnTo>
                    <a:pt x="0" y="583"/>
                  </a:lnTo>
                  <a:lnTo>
                    <a:pt x="0" y="586"/>
                  </a:lnTo>
                  <a:lnTo>
                    <a:pt x="0" y="590"/>
                  </a:lnTo>
                  <a:lnTo>
                    <a:pt x="1" y="593"/>
                  </a:lnTo>
                  <a:lnTo>
                    <a:pt x="2" y="595"/>
                  </a:lnTo>
                  <a:lnTo>
                    <a:pt x="4" y="597"/>
                  </a:lnTo>
                  <a:lnTo>
                    <a:pt x="6" y="599"/>
                  </a:lnTo>
                  <a:lnTo>
                    <a:pt x="9" y="600"/>
                  </a:lnTo>
                  <a:lnTo>
                    <a:pt x="12" y="601"/>
                  </a:lnTo>
                  <a:lnTo>
                    <a:pt x="15" y="601"/>
                  </a:lnTo>
                  <a:lnTo>
                    <a:pt x="75" y="601"/>
                  </a:lnTo>
                  <a:lnTo>
                    <a:pt x="195" y="601"/>
                  </a:lnTo>
                  <a:lnTo>
                    <a:pt x="285" y="601"/>
                  </a:lnTo>
                  <a:lnTo>
                    <a:pt x="406" y="601"/>
                  </a:lnTo>
                  <a:lnTo>
                    <a:pt x="496" y="601"/>
                  </a:lnTo>
                  <a:lnTo>
                    <a:pt x="616" y="601"/>
                  </a:lnTo>
                  <a:lnTo>
                    <a:pt x="706" y="601"/>
                  </a:lnTo>
                  <a:lnTo>
                    <a:pt x="827" y="601"/>
                  </a:lnTo>
                  <a:lnTo>
                    <a:pt x="887" y="601"/>
                  </a:lnTo>
                  <a:lnTo>
                    <a:pt x="890" y="601"/>
                  </a:lnTo>
                  <a:lnTo>
                    <a:pt x="892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899" y="595"/>
                  </a:lnTo>
                  <a:lnTo>
                    <a:pt x="901" y="593"/>
                  </a:lnTo>
                  <a:lnTo>
                    <a:pt x="901" y="590"/>
                  </a:lnTo>
                  <a:lnTo>
                    <a:pt x="902" y="586"/>
                  </a:lnTo>
                  <a:lnTo>
                    <a:pt x="902" y="583"/>
                  </a:lnTo>
                  <a:lnTo>
                    <a:pt x="901" y="581"/>
                  </a:lnTo>
                  <a:lnTo>
                    <a:pt x="899" y="578"/>
                  </a:lnTo>
                  <a:lnTo>
                    <a:pt x="898" y="576"/>
                  </a:lnTo>
                  <a:lnTo>
                    <a:pt x="896" y="573"/>
                  </a:lnTo>
                  <a:lnTo>
                    <a:pt x="892" y="572"/>
                  </a:lnTo>
                  <a:lnTo>
                    <a:pt x="890" y="571"/>
                  </a:lnTo>
                  <a:lnTo>
                    <a:pt x="887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pic>
        <p:nvPicPr>
          <p:cNvPr id="48" name="Imagem 47">
            <a:extLst>
              <a:ext uri="{FF2B5EF4-FFF2-40B4-BE49-F238E27FC236}">
                <a16:creationId xmlns="" xmlns:a16="http://schemas.microsoft.com/office/drawing/2014/main" id="{32EBE977-3CDC-3C4A-9924-309E83EDCA93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5375" y="1008523"/>
            <a:ext cx="466377" cy="586823"/>
          </a:xfrm>
          <a:prstGeom prst="rect">
            <a:avLst/>
          </a:prstGeom>
        </p:spPr>
      </p:pic>
      <p:sp>
        <p:nvSpPr>
          <p:cNvPr id="49" name="Title 1">
            <a:extLst>
              <a:ext uri="{FF2B5EF4-FFF2-40B4-BE49-F238E27FC236}">
                <a16:creationId xmlns="" xmlns:a16="http://schemas.microsoft.com/office/drawing/2014/main" id="{65E21310-F918-4748-9E4F-FDEAD89648E7}"/>
              </a:ext>
            </a:extLst>
          </p:cNvPr>
          <p:cNvSpPr txBox="1">
            <a:spLocks/>
          </p:cNvSpPr>
          <p:nvPr/>
        </p:nvSpPr>
        <p:spPr>
          <a:xfrm>
            <a:off x="5362445" y="956791"/>
            <a:ext cx="2543056" cy="98488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pt-BR" sz="160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Por que alguns indivíduos infectados tem sintomas neurológicos e outros não? Podemos prevenir? </a:t>
            </a:r>
          </a:p>
        </p:txBody>
      </p:sp>
      <p:sp>
        <p:nvSpPr>
          <p:cNvPr id="50" name="Title 1">
            <a:extLst>
              <a:ext uri="{FF2B5EF4-FFF2-40B4-BE49-F238E27FC236}">
                <a16:creationId xmlns="" xmlns:a16="http://schemas.microsoft.com/office/drawing/2014/main" id="{C84572FF-4543-4C4E-915B-B3F699A30861}"/>
              </a:ext>
            </a:extLst>
          </p:cNvPr>
          <p:cNvSpPr txBox="1">
            <a:spLocks/>
          </p:cNvSpPr>
          <p:nvPr/>
        </p:nvSpPr>
        <p:spPr>
          <a:xfrm>
            <a:off x="6087860" y="3360395"/>
            <a:ext cx="1817641" cy="172354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pt-BR" sz="160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Vigilância de pacientes jovens e adultos infectados para acometimento neurológico agudo e tardio</a:t>
            </a:r>
          </a:p>
        </p:txBody>
      </p:sp>
    </p:spTree>
    <p:extLst>
      <p:ext uri="{BB962C8B-B14F-4D97-AF65-F5344CB8AC3E}">
        <p14:creationId xmlns:p14="http://schemas.microsoft.com/office/powerpoint/2010/main" val="40238488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Straight Connector 31"/>
          <p:cNvCxnSpPr>
            <a:cxnSpLocks/>
          </p:cNvCxnSpPr>
          <p:nvPr/>
        </p:nvCxnSpPr>
        <p:spPr>
          <a:xfrm>
            <a:off x="5518862" y="3017449"/>
            <a:ext cx="6345478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rgbClr val="285066"/>
                </a:gs>
                <a:gs pos="45000">
                  <a:srgbClr val="366C89"/>
                </a:gs>
                <a:gs pos="100000">
                  <a:srgbClr val="EF7D4F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Oval 3"/>
          <p:cNvSpPr/>
          <p:nvPr/>
        </p:nvSpPr>
        <p:spPr>
          <a:xfrm>
            <a:off x="5524077" y="3518448"/>
            <a:ext cx="373640" cy="373640"/>
          </a:xfrm>
          <a:prstGeom prst="ellipse">
            <a:avLst/>
          </a:prstGeom>
          <a:gradFill>
            <a:gsLst>
              <a:gs pos="0">
                <a:srgbClr val="285066"/>
              </a:gs>
              <a:gs pos="27000">
                <a:srgbClr val="366C89"/>
              </a:gs>
              <a:gs pos="100000">
                <a:srgbClr val="EF7D4F"/>
              </a:gs>
            </a:gsLst>
            <a:lin ang="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5518862" y="4111771"/>
            <a:ext cx="373640" cy="373640"/>
          </a:xfrm>
          <a:prstGeom prst="ellipse">
            <a:avLst/>
          </a:prstGeom>
          <a:gradFill>
            <a:gsLst>
              <a:gs pos="0">
                <a:srgbClr val="285066"/>
              </a:gs>
              <a:gs pos="27000">
                <a:srgbClr val="366C89"/>
              </a:gs>
              <a:gs pos="100000">
                <a:srgbClr val="EF7D4F"/>
              </a:gs>
            </a:gsLst>
            <a:lin ang="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5608828" y="3566926"/>
            <a:ext cx="215430" cy="839261"/>
            <a:chOff x="4559273" y="1804924"/>
            <a:chExt cx="220414" cy="858676"/>
          </a:xfrm>
          <a:solidFill>
            <a:schemeClr val="bg1"/>
          </a:solidFill>
          <a:effectLst>
            <a:outerShdw blurRad="38100" dist="25400" dir="5400000" algn="t" rotWithShape="0">
              <a:prstClr val="black">
                <a:alpha val="48000"/>
              </a:prstClr>
            </a:outerShdw>
          </a:effectLst>
        </p:grpSpPr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4566083" y="2457744"/>
              <a:ext cx="206795" cy="205856"/>
            </a:xfrm>
            <a:custGeom>
              <a:avLst/>
              <a:gdLst>
                <a:gd name="T0" fmla="*/ 72 w 878"/>
                <a:gd name="T1" fmla="*/ 171 h 879"/>
                <a:gd name="T2" fmla="*/ 210 w 878"/>
                <a:gd name="T3" fmla="*/ 201 h 879"/>
                <a:gd name="T4" fmla="*/ 338 w 878"/>
                <a:gd name="T5" fmla="*/ 254 h 879"/>
                <a:gd name="T6" fmla="*/ 451 w 878"/>
                <a:gd name="T7" fmla="*/ 330 h 879"/>
                <a:gd name="T8" fmla="*/ 547 w 878"/>
                <a:gd name="T9" fmla="*/ 427 h 879"/>
                <a:gd name="T10" fmla="*/ 624 w 878"/>
                <a:gd name="T11" fmla="*/ 541 h 879"/>
                <a:gd name="T12" fmla="*/ 678 w 878"/>
                <a:gd name="T13" fmla="*/ 668 h 879"/>
                <a:gd name="T14" fmla="*/ 706 w 878"/>
                <a:gd name="T15" fmla="*/ 807 h 879"/>
                <a:gd name="T16" fmla="*/ 878 w 878"/>
                <a:gd name="T17" fmla="*/ 856 h 879"/>
                <a:gd name="T18" fmla="*/ 872 w 878"/>
                <a:gd name="T19" fmla="*/ 768 h 879"/>
                <a:gd name="T20" fmla="*/ 855 w 878"/>
                <a:gd name="T21" fmla="*/ 681 h 879"/>
                <a:gd name="T22" fmla="*/ 825 w 878"/>
                <a:gd name="T23" fmla="*/ 578 h 879"/>
                <a:gd name="T24" fmla="*/ 751 w 878"/>
                <a:gd name="T25" fmla="*/ 424 h 879"/>
                <a:gd name="T26" fmla="*/ 650 w 878"/>
                <a:gd name="T27" fmla="*/ 288 h 879"/>
                <a:gd name="T28" fmla="*/ 525 w 878"/>
                <a:gd name="T29" fmla="*/ 175 h 879"/>
                <a:gd name="T30" fmla="*/ 380 w 878"/>
                <a:gd name="T31" fmla="*/ 87 h 879"/>
                <a:gd name="T32" fmla="*/ 240 w 878"/>
                <a:gd name="T33" fmla="*/ 33 h 879"/>
                <a:gd name="T34" fmla="*/ 155 w 878"/>
                <a:gd name="T35" fmla="*/ 14 h 879"/>
                <a:gd name="T36" fmla="*/ 68 w 878"/>
                <a:gd name="T37" fmla="*/ 3 h 879"/>
                <a:gd name="T38" fmla="*/ 0 w 878"/>
                <a:gd name="T39" fmla="*/ 299 h 879"/>
                <a:gd name="T40" fmla="*/ 60 w 878"/>
                <a:gd name="T41" fmla="*/ 472 h 879"/>
                <a:gd name="T42" fmla="*/ 138 w 878"/>
                <a:gd name="T43" fmla="*/ 491 h 879"/>
                <a:gd name="T44" fmla="*/ 210 w 878"/>
                <a:gd name="T45" fmla="*/ 525 h 879"/>
                <a:gd name="T46" fmla="*/ 275 w 878"/>
                <a:gd name="T47" fmla="*/ 573 h 879"/>
                <a:gd name="T48" fmla="*/ 330 w 878"/>
                <a:gd name="T49" fmla="*/ 634 h 879"/>
                <a:gd name="T50" fmla="*/ 371 w 878"/>
                <a:gd name="T51" fmla="*/ 703 h 879"/>
                <a:gd name="T52" fmla="*/ 398 w 878"/>
                <a:gd name="T53" fmla="*/ 778 h 879"/>
                <a:gd name="T54" fmla="*/ 410 w 878"/>
                <a:gd name="T55" fmla="*/ 858 h 879"/>
                <a:gd name="T56" fmla="*/ 580 w 878"/>
                <a:gd name="T57" fmla="*/ 879 h 879"/>
                <a:gd name="T58" fmla="*/ 568 w 878"/>
                <a:gd name="T59" fmla="*/ 762 h 879"/>
                <a:gd name="T60" fmla="*/ 533 w 878"/>
                <a:gd name="T61" fmla="*/ 653 h 879"/>
                <a:gd name="T62" fmla="*/ 480 w 878"/>
                <a:gd name="T63" fmla="*/ 555 h 879"/>
                <a:gd name="T64" fmla="*/ 409 w 878"/>
                <a:gd name="T65" fmla="*/ 470 h 879"/>
                <a:gd name="T66" fmla="*/ 324 w 878"/>
                <a:gd name="T67" fmla="*/ 398 h 879"/>
                <a:gd name="T68" fmla="*/ 224 w 878"/>
                <a:gd name="T69" fmla="*/ 344 h 879"/>
                <a:gd name="T70" fmla="*/ 116 w 878"/>
                <a:gd name="T71" fmla="*/ 311 h 879"/>
                <a:gd name="T72" fmla="*/ 0 w 878"/>
                <a:gd name="T73" fmla="*/ 299 h 879"/>
                <a:gd name="T74" fmla="*/ 199 w 878"/>
                <a:gd name="T75" fmla="*/ 679 h 879"/>
                <a:gd name="T76" fmla="*/ 206 w 878"/>
                <a:gd name="T77" fmla="*/ 688 h 879"/>
                <a:gd name="T78" fmla="*/ 228 w 878"/>
                <a:gd name="T79" fmla="*/ 727 h 879"/>
                <a:gd name="T80" fmla="*/ 232 w 878"/>
                <a:gd name="T81" fmla="*/ 773 h 879"/>
                <a:gd name="T82" fmla="*/ 219 w 878"/>
                <a:gd name="T83" fmla="*/ 817 h 879"/>
                <a:gd name="T84" fmla="*/ 199 w 878"/>
                <a:gd name="T85" fmla="*/ 843 h 879"/>
                <a:gd name="T86" fmla="*/ 162 w 878"/>
                <a:gd name="T87" fmla="*/ 869 h 879"/>
                <a:gd name="T88" fmla="*/ 116 w 878"/>
                <a:gd name="T89" fmla="*/ 878 h 879"/>
                <a:gd name="T90" fmla="*/ 71 w 878"/>
                <a:gd name="T91" fmla="*/ 869 h 879"/>
                <a:gd name="T92" fmla="*/ 33 w 878"/>
                <a:gd name="T93" fmla="*/ 843 h 879"/>
                <a:gd name="T94" fmla="*/ 8 w 878"/>
                <a:gd name="T95" fmla="*/ 807 h 879"/>
                <a:gd name="T96" fmla="*/ 0 w 878"/>
                <a:gd name="T97" fmla="*/ 761 h 879"/>
                <a:gd name="T98" fmla="*/ 8 w 878"/>
                <a:gd name="T99" fmla="*/ 717 h 879"/>
                <a:gd name="T100" fmla="*/ 33 w 878"/>
                <a:gd name="T101" fmla="*/ 679 h 879"/>
                <a:gd name="T102" fmla="*/ 60 w 878"/>
                <a:gd name="T103" fmla="*/ 660 h 879"/>
                <a:gd name="T104" fmla="*/ 105 w 878"/>
                <a:gd name="T105" fmla="*/ 646 h 879"/>
                <a:gd name="T106" fmla="*/ 151 w 878"/>
                <a:gd name="T107" fmla="*/ 651 h 879"/>
                <a:gd name="T108" fmla="*/ 190 w 878"/>
                <a:gd name="T109" fmla="*/ 672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78" h="879">
                  <a:moveTo>
                    <a:pt x="0" y="0"/>
                  </a:moveTo>
                  <a:lnTo>
                    <a:pt x="0" y="168"/>
                  </a:lnTo>
                  <a:lnTo>
                    <a:pt x="37" y="169"/>
                  </a:lnTo>
                  <a:lnTo>
                    <a:pt x="72" y="171"/>
                  </a:lnTo>
                  <a:lnTo>
                    <a:pt x="108" y="176"/>
                  </a:lnTo>
                  <a:lnTo>
                    <a:pt x="142" y="182"/>
                  </a:lnTo>
                  <a:lnTo>
                    <a:pt x="177" y="191"/>
                  </a:lnTo>
                  <a:lnTo>
                    <a:pt x="210" y="201"/>
                  </a:lnTo>
                  <a:lnTo>
                    <a:pt x="244" y="211"/>
                  </a:lnTo>
                  <a:lnTo>
                    <a:pt x="276" y="224"/>
                  </a:lnTo>
                  <a:lnTo>
                    <a:pt x="308" y="238"/>
                  </a:lnTo>
                  <a:lnTo>
                    <a:pt x="338" y="254"/>
                  </a:lnTo>
                  <a:lnTo>
                    <a:pt x="368" y="271"/>
                  </a:lnTo>
                  <a:lnTo>
                    <a:pt x="396" y="289"/>
                  </a:lnTo>
                  <a:lnTo>
                    <a:pt x="424" y="310"/>
                  </a:lnTo>
                  <a:lnTo>
                    <a:pt x="451" y="330"/>
                  </a:lnTo>
                  <a:lnTo>
                    <a:pt x="477" y="353"/>
                  </a:lnTo>
                  <a:lnTo>
                    <a:pt x="502" y="377"/>
                  </a:lnTo>
                  <a:lnTo>
                    <a:pt x="525" y="402"/>
                  </a:lnTo>
                  <a:lnTo>
                    <a:pt x="547" y="427"/>
                  </a:lnTo>
                  <a:lnTo>
                    <a:pt x="569" y="454"/>
                  </a:lnTo>
                  <a:lnTo>
                    <a:pt x="589" y="481"/>
                  </a:lnTo>
                  <a:lnTo>
                    <a:pt x="607" y="511"/>
                  </a:lnTo>
                  <a:lnTo>
                    <a:pt x="624" y="541"/>
                  </a:lnTo>
                  <a:lnTo>
                    <a:pt x="640" y="571"/>
                  </a:lnTo>
                  <a:lnTo>
                    <a:pt x="654" y="602"/>
                  </a:lnTo>
                  <a:lnTo>
                    <a:pt x="666" y="635"/>
                  </a:lnTo>
                  <a:lnTo>
                    <a:pt x="678" y="668"/>
                  </a:lnTo>
                  <a:lnTo>
                    <a:pt x="688" y="702"/>
                  </a:lnTo>
                  <a:lnTo>
                    <a:pt x="695" y="736"/>
                  </a:lnTo>
                  <a:lnTo>
                    <a:pt x="702" y="771"/>
                  </a:lnTo>
                  <a:lnTo>
                    <a:pt x="706" y="807"/>
                  </a:lnTo>
                  <a:lnTo>
                    <a:pt x="709" y="842"/>
                  </a:lnTo>
                  <a:lnTo>
                    <a:pt x="711" y="879"/>
                  </a:lnTo>
                  <a:lnTo>
                    <a:pt x="878" y="879"/>
                  </a:lnTo>
                  <a:lnTo>
                    <a:pt x="878" y="856"/>
                  </a:lnTo>
                  <a:lnTo>
                    <a:pt x="877" y="834"/>
                  </a:lnTo>
                  <a:lnTo>
                    <a:pt x="876" y="812"/>
                  </a:lnTo>
                  <a:lnTo>
                    <a:pt x="874" y="789"/>
                  </a:lnTo>
                  <a:lnTo>
                    <a:pt x="872" y="768"/>
                  </a:lnTo>
                  <a:lnTo>
                    <a:pt x="868" y="745"/>
                  </a:lnTo>
                  <a:lnTo>
                    <a:pt x="865" y="723"/>
                  </a:lnTo>
                  <a:lnTo>
                    <a:pt x="861" y="702"/>
                  </a:lnTo>
                  <a:lnTo>
                    <a:pt x="855" y="681"/>
                  </a:lnTo>
                  <a:lnTo>
                    <a:pt x="851" y="660"/>
                  </a:lnTo>
                  <a:lnTo>
                    <a:pt x="845" y="639"/>
                  </a:lnTo>
                  <a:lnTo>
                    <a:pt x="839" y="618"/>
                  </a:lnTo>
                  <a:lnTo>
                    <a:pt x="825" y="578"/>
                  </a:lnTo>
                  <a:lnTo>
                    <a:pt x="809" y="538"/>
                  </a:lnTo>
                  <a:lnTo>
                    <a:pt x="792" y="499"/>
                  </a:lnTo>
                  <a:lnTo>
                    <a:pt x="772" y="461"/>
                  </a:lnTo>
                  <a:lnTo>
                    <a:pt x="751" y="424"/>
                  </a:lnTo>
                  <a:lnTo>
                    <a:pt x="728" y="389"/>
                  </a:lnTo>
                  <a:lnTo>
                    <a:pt x="703" y="354"/>
                  </a:lnTo>
                  <a:lnTo>
                    <a:pt x="677" y="321"/>
                  </a:lnTo>
                  <a:lnTo>
                    <a:pt x="650" y="288"/>
                  </a:lnTo>
                  <a:lnTo>
                    <a:pt x="621" y="258"/>
                  </a:lnTo>
                  <a:lnTo>
                    <a:pt x="590" y="229"/>
                  </a:lnTo>
                  <a:lnTo>
                    <a:pt x="558" y="202"/>
                  </a:lnTo>
                  <a:lnTo>
                    <a:pt x="525" y="175"/>
                  </a:lnTo>
                  <a:lnTo>
                    <a:pt x="490" y="151"/>
                  </a:lnTo>
                  <a:lnTo>
                    <a:pt x="455" y="128"/>
                  </a:lnTo>
                  <a:lnTo>
                    <a:pt x="418" y="107"/>
                  </a:lnTo>
                  <a:lnTo>
                    <a:pt x="380" y="87"/>
                  </a:lnTo>
                  <a:lnTo>
                    <a:pt x="341" y="70"/>
                  </a:lnTo>
                  <a:lnTo>
                    <a:pt x="301" y="54"/>
                  </a:lnTo>
                  <a:lnTo>
                    <a:pt x="261" y="40"/>
                  </a:lnTo>
                  <a:lnTo>
                    <a:pt x="240" y="33"/>
                  </a:lnTo>
                  <a:lnTo>
                    <a:pt x="219" y="28"/>
                  </a:lnTo>
                  <a:lnTo>
                    <a:pt x="197" y="22"/>
                  </a:lnTo>
                  <a:lnTo>
                    <a:pt x="177" y="18"/>
                  </a:lnTo>
                  <a:lnTo>
                    <a:pt x="155" y="14"/>
                  </a:lnTo>
                  <a:lnTo>
                    <a:pt x="134" y="11"/>
                  </a:lnTo>
                  <a:lnTo>
                    <a:pt x="112" y="7"/>
                  </a:lnTo>
                  <a:lnTo>
                    <a:pt x="89" y="5"/>
                  </a:lnTo>
                  <a:lnTo>
                    <a:pt x="68" y="3"/>
                  </a:lnTo>
                  <a:lnTo>
                    <a:pt x="45" y="2"/>
                  </a:lnTo>
                  <a:lnTo>
                    <a:pt x="22" y="1"/>
                  </a:lnTo>
                  <a:lnTo>
                    <a:pt x="0" y="0"/>
                  </a:lnTo>
                  <a:close/>
                  <a:moveTo>
                    <a:pt x="0" y="299"/>
                  </a:moveTo>
                  <a:lnTo>
                    <a:pt x="0" y="466"/>
                  </a:lnTo>
                  <a:lnTo>
                    <a:pt x="20" y="467"/>
                  </a:lnTo>
                  <a:lnTo>
                    <a:pt x="41" y="468"/>
                  </a:lnTo>
                  <a:lnTo>
                    <a:pt x="60" y="472"/>
                  </a:lnTo>
                  <a:lnTo>
                    <a:pt x="81" y="475"/>
                  </a:lnTo>
                  <a:lnTo>
                    <a:pt x="100" y="479"/>
                  </a:lnTo>
                  <a:lnTo>
                    <a:pt x="120" y="485"/>
                  </a:lnTo>
                  <a:lnTo>
                    <a:pt x="138" y="491"/>
                  </a:lnTo>
                  <a:lnTo>
                    <a:pt x="156" y="498"/>
                  </a:lnTo>
                  <a:lnTo>
                    <a:pt x="175" y="506"/>
                  </a:lnTo>
                  <a:lnTo>
                    <a:pt x="193" y="515"/>
                  </a:lnTo>
                  <a:lnTo>
                    <a:pt x="210" y="525"/>
                  </a:lnTo>
                  <a:lnTo>
                    <a:pt x="228" y="535"/>
                  </a:lnTo>
                  <a:lnTo>
                    <a:pt x="244" y="547"/>
                  </a:lnTo>
                  <a:lnTo>
                    <a:pt x="260" y="560"/>
                  </a:lnTo>
                  <a:lnTo>
                    <a:pt x="275" y="573"/>
                  </a:lnTo>
                  <a:lnTo>
                    <a:pt x="290" y="587"/>
                  </a:lnTo>
                  <a:lnTo>
                    <a:pt x="304" y="602"/>
                  </a:lnTo>
                  <a:lnTo>
                    <a:pt x="317" y="618"/>
                  </a:lnTo>
                  <a:lnTo>
                    <a:pt x="330" y="634"/>
                  </a:lnTo>
                  <a:lnTo>
                    <a:pt x="342" y="650"/>
                  </a:lnTo>
                  <a:lnTo>
                    <a:pt x="353" y="667"/>
                  </a:lnTo>
                  <a:lnTo>
                    <a:pt x="363" y="684"/>
                  </a:lnTo>
                  <a:lnTo>
                    <a:pt x="371" y="703"/>
                  </a:lnTo>
                  <a:lnTo>
                    <a:pt x="380" y="721"/>
                  </a:lnTo>
                  <a:lnTo>
                    <a:pt x="387" y="740"/>
                  </a:lnTo>
                  <a:lnTo>
                    <a:pt x="393" y="759"/>
                  </a:lnTo>
                  <a:lnTo>
                    <a:pt x="398" y="778"/>
                  </a:lnTo>
                  <a:lnTo>
                    <a:pt x="403" y="798"/>
                  </a:lnTo>
                  <a:lnTo>
                    <a:pt x="406" y="817"/>
                  </a:lnTo>
                  <a:lnTo>
                    <a:pt x="409" y="838"/>
                  </a:lnTo>
                  <a:lnTo>
                    <a:pt x="410" y="858"/>
                  </a:lnTo>
                  <a:lnTo>
                    <a:pt x="411" y="879"/>
                  </a:lnTo>
                  <a:lnTo>
                    <a:pt x="411" y="879"/>
                  </a:lnTo>
                  <a:lnTo>
                    <a:pt x="411" y="879"/>
                  </a:lnTo>
                  <a:lnTo>
                    <a:pt x="580" y="879"/>
                  </a:lnTo>
                  <a:lnTo>
                    <a:pt x="579" y="849"/>
                  </a:lnTo>
                  <a:lnTo>
                    <a:pt x="577" y="819"/>
                  </a:lnTo>
                  <a:lnTo>
                    <a:pt x="572" y="790"/>
                  </a:lnTo>
                  <a:lnTo>
                    <a:pt x="568" y="762"/>
                  </a:lnTo>
                  <a:lnTo>
                    <a:pt x="562" y="734"/>
                  </a:lnTo>
                  <a:lnTo>
                    <a:pt x="553" y="707"/>
                  </a:lnTo>
                  <a:lnTo>
                    <a:pt x="544" y="680"/>
                  </a:lnTo>
                  <a:lnTo>
                    <a:pt x="533" y="653"/>
                  </a:lnTo>
                  <a:lnTo>
                    <a:pt x="522" y="628"/>
                  </a:lnTo>
                  <a:lnTo>
                    <a:pt x="510" y="602"/>
                  </a:lnTo>
                  <a:lnTo>
                    <a:pt x="496" y="579"/>
                  </a:lnTo>
                  <a:lnTo>
                    <a:pt x="480" y="555"/>
                  </a:lnTo>
                  <a:lnTo>
                    <a:pt x="464" y="532"/>
                  </a:lnTo>
                  <a:lnTo>
                    <a:pt x="447" y="511"/>
                  </a:lnTo>
                  <a:lnTo>
                    <a:pt x="429" y="489"/>
                  </a:lnTo>
                  <a:lnTo>
                    <a:pt x="409" y="470"/>
                  </a:lnTo>
                  <a:lnTo>
                    <a:pt x="389" y="450"/>
                  </a:lnTo>
                  <a:lnTo>
                    <a:pt x="368" y="432"/>
                  </a:lnTo>
                  <a:lnTo>
                    <a:pt x="347" y="414"/>
                  </a:lnTo>
                  <a:lnTo>
                    <a:pt x="324" y="398"/>
                  </a:lnTo>
                  <a:lnTo>
                    <a:pt x="300" y="383"/>
                  </a:lnTo>
                  <a:lnTo>
                    <a:pt x="275" y="369"/>
                  </a:lnTo>
                  <a:lnTo>
                    <a:pt x="250" y="356"/>
                  </a:lnTo>
                  <a:lnTo>
                    <a:pt x="224" y="344"/>
                  </a:lnTo>
                  <a:lnTo>
                    <a:pt x="199" y="335"/>
                  </a:lnTo>
                  <a:lnTo>
                    <a:pt x="172" y="325"/>
                  </a:lnTo>
                  <a:lnTo>
                    <a:pt x="145" y="317"/>
                  </a:lnTo>
                  <a:lnTo>
                    <a:pt x="116" y="311"/>
                  </a:lnTo>
                  <a:lnTo>
                    <a:pt x="87" y="305"/>
                  </a:lnTo>
                  <a:lnTo>
                    <a:pt x="59" y="302"/>
                  </a:lnTo>
                  <a:lnTo>
                    <a:pt x="29" y="300"/>
                  </a:lnTo>
                  <a:lnTo>
                    <a:pt x="0" y="299"/>
                  </a:lnTo>
                  <a:close/>
                  <a:moveTo>
                    <a:pt x="33" y="843"/>
                  </a:moveTo>
                  <a:lnTo>
                    <a:pt x="33" y="843"/>
                  </a:lnTo>
                  <a:lnTo>
                    <a:pt x="33" y="843"/>
                  </a:lnTo>
                  <a:close/>
                  <a:moveTo>
                    <a:pt x="199" y="679"/>
                  </a:moveTo>
                  <a:lnTo>
                    <a:pt x="199" y="679"/>
                  </a:lnTo>
                  <a:lnTo>
                    <a:pt x="199" y="679"/>
                  </a:lnTo>
                  <a:close/>
                  <a:moveTo>
                    <a:pt x="199" y="679"/>
                  </a:moveTo>
                  <a:lnTo>
                    <a:pt x="206" y="688"/>
                  </a:lnTo>
                  <a:lnTo>
                    <a:pt x="213" y="696"/>
                  </a:lnTo>
                  <a:lnTo>
                    <a:pt x="219" y="706"/>
                  </a:lnTo>
                  <a:lnTo>
                    <a:pt x="223" y="717"/>
                  </a:lnTo>
                  <a:lnTo>
                    <a:pt x="228" y="727"/>
                  </a:lnTo>
                  <a:lnTo>
                    <a:pt x="231" y="738"/>
                  </a:lnTo>
                  <a:lnTo>
                    <a:pt x="232" y="749"/>
                  </a:lnTo>
                  <a:lnTo>
                    <a:pt x="233" y="761"/>
                  </a:lnTo>
                  <a:lnTo>
                    <a:pt x="232" y="773"/>
                  </a:lnTo>
                  <a:lnTo>
                    <a:pt x="231" y="785"/>
                  </a:lnTo>
                  <a:lnTo>
                    <a:pt x="228" y="796"/>
                  </a:lnTo>
                  <a:lnTo>
                    <a:pt x="223" y="807"/>
                  </a:lnTo>
                  <a:lnTo>
                    <a:pt x="219" y="817"/>
                  </a:lnTo>
                  <a:lnTo>
                    <a:pt x="213" y="826"/>
                  </a:lnTo>
                  <a:lnTo>
                    <a:pt x="206" y="836"/>
                  </a:lnTo>
                  <a:lnTo>
                    <a:pt x="199" y="843"/>
                  </a:lnTo>
                  <a:lnTo>
                    <a:pt x="199" y="843"/>
                  </a:lnTo>
                  <a:lnTo>
                    <a:pt x="190" y="851"/>
                  </a:lnTo>
                  <a:lnTo>
                    <a:pt x="181" y="858"/>
                  </a:lnTo>
                  <a:lnTo>
                    <a:pt x="172" y="864"/>
                  </a:lnTo>
                  <a:lnTo>
                    <a:pt x="162" y="869"/>
                  </a:lnTo>
                  <a:lnTo>
                    <a:pt x="151" y="872"/>
                  </a:lnTo>
                  <a:lnTo>
                    <a:pt x="140" y="876"/>
                  </a:lnTo>
                  <a:lnTo>
                    <a:pt x="128" y="877"/>
                  </a:lnTo>
                  <a:lnTo>
                    <a:pt x="116" y="878"/>
                  </a:lnTo>
                  <a:lnTo>
                    <a:pt x="105" y="877"/>
                  </a:lnTo>
                  <a:lnTo>
                    <a:pt x="93" y="876"/>
                  </a:lnTo>
                  <a:lnTo>
                    <a:pt x="82" y="872"/>
                  </a:lnTo>
                  <a:lnTo>
                    <a:pt x="71" y="869"/>
                  </a:lnTo>
                  <a:lnTo>
                    <a:pt x="60" y="864"/>
                  </a:lnTo>
                  <a:lnTo>
                    <a:pt x="51" y="858"/>
                  </a:lnTo>
                  <a:lnTo>
                    <a:pt x="42" y="851"/>
                  </a:lnTo>
                  <a:lnTo>
                    <a:pt x="33" y="843"/>
                  </a:lnTo>
                  <a:lnTo>
                    <a:pt x="26" y="836"/>
                  </a:lnTo>
                  <a:lnTo>
                    <a:pt x="19" y="827"/>
                  </a:lnTo>
                  <a:lnTo>
                    <a:pt x="14" y="817"/>
                  </a:lnTo>
                  <a:lnTo>
                    <a:pt x="8" y="807"/>
                  </a:lnTo>
                  <a:lnTo>
                    <a:pt x="5" y="796"/>
                  </a:lnTo>
                  <a:lnTo>
                    <a:pt x="2" y="785"/>
                  </a:lnTo>
                  <a:lnTo>
                    <a:pt x="0" y="773"/>
                  </a:lnTo>
                  <a:lnTo>
                    <a:pt x="0" y="761"/>
                  </a:lnTo>
                  <a:lnTo>
                    <a:pt x="0" y="749"/>
                  </a:lnTo>
                  <a:lnTo>
                    <a:pt x="2" y="738"/>
                  </a:lnTo>
                  <a:lnTo>
                    <a:pt x="5" y="727"/>
                  </a:lnTo>
                  <a:lnTo>
                    <a:pt x="8" y="717"/>
                  </a:lnTo>
                  <a:lnTo>
                    <a:pt x="14" y="706"/>
                  </a:lnTo>
                  <a:lnTo>
                    <a:pt x="19" y="696"/>
                  </a:lnTo>
                  <a:lnTo>
                    <a:pt x="26" y="688"/>
                  </a:lnTo>
                  <a:lnTo>
                    <a:pt x="33" y="679"/>
                  </a:lnTo>
                  <a:lnTo>
                    <a:pt x="33" y="679"/>
                  </a:lnTo>
                  <a:lnTo>
                    <a:pt x="42" y="672"/>
                  </a:lnTo>
                  <a:lnTo>
                    <a:pt x="51" y="665"/>
                  </a:lnTo>
                  <a:lnTo>
                    <a:pt x="60" y="660"/>
                  </a:lnTo>
                  <a:lnTo>
                    <a:pt x="71" y="654"/>
                  </a:lnTo>
                  <a:lnTo>
                    <a:pt x="82" y="651"/>
                  </a:lnTo>
                  <a:lnTo>
                    <a:pt x="93" y="648"/>
                  </a:lnTo>
                  <a:lnTo>
                    <a:pt x="105" y="646"/>
                  </a:lnTo>
                  <a:lnTo>
                    <a:pt x="116" y="646"/>
                  </a:lnTo>
                  <a:lnTo>
                    <a:pt x="128" y="646"/>
                  </a:lnTo>
                  <a:lnTo>
                    <a:pt x="140" y="648"/>
                  </a:lnTo>
                  <a:lnTo>
                    <a:pt x="151" y="651"/>
                  </a:lnTo>
                  <a:lnTo>
                    <a:pt x="162" y="654"/>
                  </a:lnTo>
                  <a:lnTo>
                    <a:pt x="172" y="660"/>
                  </a:lnTo>
                  <a:lnTo>
                    <a:pt x="181" y="665"/>
                  </a:lnTo>
                  <a:lnTo>
                    <a:pt x="190" y="672"/>
                  </a:lnTo>
                  <a:lnTo>
                    <a:pt x="199" y="6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1">
                <a:solidFill>
                  <a:prstClr val="black"/>
                </a:solidFill>
              </a:endParaRPr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4559273" y="1804924"/>
              <a:ext cx="220414" cy="209551"/>
              <a:chOff x="11037888" y="1404649"/>
              <a:chExt cx="266700" cy="253557"/>
            </a:xfrm>
            <a:grpFill/>
          </p:grpSpPr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11037888" y="1486756"/>
                <a:ext cx="266700" cy="171450"/>
              </a:xfrm>
              <a:custGeom>
                <a:avLst/>
                <a:gdLst>
                  <a:gd name="T0" fmla="*/ 661 w 673"/>
                  <a:gd name="T1" fmla="*/ 0 h 429"/>
                  <a:gd name="T2" fmla="*/ 357 w 673"/>
                  <a:gd name="T3" fmla="*/ 245 h 429"/>
                  <a:gd name="T4" fmla="*/ 354 w 673"/>
                  <a:gd name="T5" fmla="*/ 248 h 429"/>
                  <a:gd name="T6" fmla="*/ 350 w 673"/>
                  <a:gd name="T7" fmla="*/ 248 h 429"/>
                  <a:gd name="T8" fmla="*/ 346 w 673"/>
                  <a:gd name="T9" fmla="*/ 248 h 429"/>
                  <a:gd name="T10" fmla="*/ 342 w 673"/>
                  <a:gd name="T11" fmla="*/ 247 h 429"/>
                  <a:gd name="T12" fmla="*/ 11 w 673"/>
                  <a:gd name="T13" fmla="*/ 6 h 429"/>
                  <a:gd name="T14" fmla="*/ 7 w 673"/>
                  <a:gd name="T15" fmla="*/ 14 h 429"/>
                  <a:gd name="T16" fmla="*/ 3 w 673"/>
                  <a:gd name="T17" fmla="*/ 23 h 429"/>
                  <a:gd name="T18" fmla="*/ 2 w 673"/>
                  <a:gd name="T19" fmla="*/ 33 h 429"/>
                  <a:gd name="T20" fmla="*/ 0 w 673"/>
                  <a:gd name="T21" fmla="*/ 44 h 429"/>
                  <a:gd name="T22" fmla="*/ 0 w 673"/>
                  <a:gd name="T23" fmla="*/ 357 h 429"/>
                  <a:gd name="T24" fmla="*/ 2 w 673"/>
                  <a:gd name="T25" fmla="*/ 365 h 429"/>
                  <a:gd name="T26" fmla="*/ 2 w 673"/>
                  <a:gd name="T27" fmla="*/ 371 h 429"/>
                  <a:gd name="T28" fmla="*/ 4 w 673"/>
                  <a:gd name="T29" fmla="*/ 379 h 429"/>
                  <a:gd name="T30" fmla="*/ 6 w 673"/>
                  <a:gd name="T31" fmla="*/ 385 h 429"/>
                  <a:gd name="T32" fmla="*/ 9 w 673"/>
                  <a:gd name="T33" fmla="*/ 392 h 429"/>
                  <a:gd name="T34" fmla="*/ 12 w 673"/>
                  <a:gd name="T35" fmla="*/ 398 h 429"/>
                  <a:gd name="T36" fmla="*/ 16 w 673"/>
                  <a:gd name="T37" fmla="*/ 403 h 429"/>
                  <a:gd name="T38" fmla="*/ 21 w 673"/>
                  <a:gd name="T39" fmla="*/ 408 h 429"/>
                  <a:gd name="T40" fmla="*/ 26 w 673"/>
                  <a:gd name="T41" fmla="*/ 412 h 429"/>
                  <a:gd name="T42" fmla="*/ 31 w 673"/>
                  <a:gd name="T43" fmla="*/ 417 h 429"/>
                  <a:gd name="T44" fmla="*/ 36 w 673"/>
                  <a:gd name="T45" fmla="*/ 420 h 429"/>
                  <a:gd name="T46" fmla="*/ 43 w 673"/>
                  <a:gd name="T47" fmla="*/ 424 h 429"/>
                  <a:gd name="T48" fmla="*/ 49 w 673"/>
                  <a:gd name="T49" fmla="*/ 425 h 429"/>
                  <a:gd name="T50" fmla="*/ 57 w 673"/>
                  <a:gd name="T51" fmla="*/ 428 h 429"/>
                  <a:gd name="T52" fmla="*/ 63 w 673"/>
                  <a:gd name="T53" fmla="*/ 429 h 429"/>
                  <a:gd name="T54" fmla="*/ 71 w 673"/>
                  <a:gd name="T55" fmla="*/ 429 h 429"/>
                  <a:gd name="T56" fmla="*/ 601 w 673"/>
                  <a:gd name="T57" fmla="*/ 429 h 429"/>
                  <a:gd name="T58" fmla="*/ 609 w 673"/>
                  <a:gd name="T59" fmla="*/ 429 h 429"/>
                  <a:gd name="T60" fmla="*/ 616 w 673"/>
                  <a:gd name="T61" fmla="*/ 428 h 429"/>
                  <a:gd name="T62" fmla="*/ 623 w 673"/>
                  <a:gd name="T63" fmla="*/ 425 h 429"/>
                  <a:gd name="T64" fmla="*/ 630 w 673"/>
                  <a:gd name="T65" fmla="*/ 423 h 429"/>
                  <a:gd name="T66" fmla="*/ 636 w 673"/>
                  <a:gd name="T67" fmla="*/ 420 h 429"/>
                  <a:gd name="T68" fmla="*/ 643 w 673"/>
                  <a:gd name="T69" fmla="*/ 416 h 429"/>
                  <a:gd name="T70" fmla="*/ 648 w 673"/>
                  <a:gd name="T71" fmla="*/ 412 h 429"/>
                  <a:gd name="T72" fmla="*/ 653 w 673"/>
                  <a:gd name="T73" fmla="*/ 407 h 429"/>
                  <a:gd name="T74" fmla="*/ 657 w 673"/>
                  <a:gd name="T75" fmla="*/ 402 h 429"/>
                  <a:gd name="T76" fmla="*/ 662 w 673"/>
                  <a:gd name="T77" fmla="*/ 397 h 429"/>
                  <a:gd name="T78" fmla="*/ 666 w 673"/>
                  <a:gd name="T79" fmla="*/ 390 h 429"/>
                  <a:gd name="T80" fmla="*/ 668 w 673"/>
                  <a:gd name="T81" fmla="*/ 385 h 429"/>
                  <a:gd name="T82" fmla="*/ 671 w 673"/>
                  <a:gd name="T83" fmla="*/ 378 h 429"/>
                  <a:gd name="T84" fmla="*/ 672 w 673"/>
                  <a:gd name="T85" fmla="*/ 371 h 429"/>
                  <a:gd name="T86" fmla="*/ 673 w 673"/>
                  <a:gd name="T87" fmla="*/ 364 h 429"/>
                  <a:gd name="T88" fmla="*/ 673 w 673"/>
                  <a:gd name="T89" fmla="*/ 357 h 429"/>
                  <a:gd name="T90" fmla="*/ 673 w 673"/>
                  <a:gd name="T91" fmla="*/ 44 h 429"/>
                  <a:gd name="T92" fmla="*/ 673 w 673"/>
                  <a:gd name="T93" fmla="*/ 32 h 429"/>
                  <a:gd name="T94" fmla="*/ 671 w 673"/>
                  <a:gd name="T95" fmla="*/ 21 h 429"/>
                  <a:gd name="T96" fmla="*/ 666 w 673"/>
                  <a:gd name="T97" fmla="*/ 10 h 429"/>
                  <a:gd name="T98" fmla="*/ 661 w 673"/>
                  <a:gd name="T99" fmla="*/ 0 h 4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73" h="429">
                    <a:moveTo>
                      <a:pt x="661" y="0"/>
                    </a:moveTo>
                    <a:lnTo>
                      <a:pt x="357" y="245"/>
                    </a:lnTo>
                    <a:lnTo>
                      <a:pt x="354" y="248"/>
                    </a:lnTo>
                    <a:lnTo>
                      <a:pt x="350" y="248"/>
                    </a:lnTo>
                    <a:lnTo>
                      <a:pt x="346" y="248"/>
                    </a:lnTo>
                    <a:lnTo>
                      <a:pt x="342" y="247"/>
                    </a:lnTo>
                    <a:lnTo>
                      <a:pt x="11" y="6"/>
                    </a:lnTo>
                    <a:lnTo>
                      <a:pt x="7" y="14"/>
                    </a:lnTo>
                    <a:lnTo>
                      <a:pt x="3" y="23"/>
                    </a:lnTo>
                    <a:lnTo>
                      <a:pt x="2" y="33"/>
                    </a:lnTo>
                    <a:lnTo>
                      <a:pt x="0" y="44"/>
                    </a:lnTo>
                    <a:lnTo>
                      <a:pt x="0" y="357"/>
                    </a:lnTo>
                    <a:lnTo>
                      <a:pt x="2" y="365"/>
                    </a:lnTo>
                    <a:lnTo>
                      <a:pt x="2" y="371"/>
                    </a:lnTo>
                    <a:lnTo>
                      <a:pt x="4" y="379"/>
                    </a:lnTo>
                    <a:lnTo>
                      <a:pt x="6" y="385"/>
                    </a:lnTo>
                    <a:lnTo>
                      <a:pt x="9" y="392"/>
                    </a:lnTo>
                    <a:lnTo>
                      <a:pt x="12" y="398"/>
                    </a:lnTo>
                    <a:lnTo>
                      <a:pt x="16" y="403"/>
                    </a:lnTo>
                    <a:lnTo>
                      <a:pt x="21" y="408"/>
                    </a:lnTo>
                    <a:lnTo>
                      <a:pt x="26" y="412"/>
                    </a:lnTo>
                    <a:lnTo>
                      <a:pt x="31" y="417"/>
                    </a:lnTo>
                    <a:lnTo>
                      <a:pt x="36" y="420"/>
                    </a:lnTo>
                    <a:lnTo>
                      <a:pt x="43" y="424"/>
                    </a:lnTo>
                    <a:lnTo>
                      <a:pt x="49" y="425"/>
                    </a:lnTo>
                    <a:lnTo>
                      <a:pt x="57" y="428"/>
                    </a:lnTo>
                    <a:lnTo>
                      <a:pt x="63" y="429"/>
                    </a:lnTo>
                    <a:lnTo>
                      <a:pt x="71" y="429"/>
                    </a:lnTo>
                    <a:lnTo>
                      <a:pt x="601" y="429"/>
                    </a:lnTo>
                    <a:lnTo>
                      <a:pt x="609" y="429"/>
                    </a:lnTo>
                    <a:lnTo>
                      <a:pt x="616" y="428"/>
                    </a:lnTo>
                    <a:lnTo>
                      <a:pt x="623" y="425"/>
                    </a:lnTo>
                    <a:lnTo>
                      <a:pt x="630" y="423"/>
                    </a:lnTo>
                    <a:lnTo>
                      <a:pt x="636" y="420"/>
                    </a:lnTo>
                    <a:lnTo>
                      <a:pt x="643" y="416"/>
                    </a:lnTo>
                    <a:lnTo>
                      <a:pt x="648" y="412"/>
                    </a:lnTo>
                    <a:lnTo>
                      <a:pt x="653" y="407"/>
                    </a:lnTo>
                    <a:lnTo>
                      <a:pt x="657" y="402"/>
                    </a:lnTo>
                    <a:lnTo>
                      <a:pt x="662" y="397"/>
                    </a:lnTo>
                    <a:lnTo>
                      <a:pt x="666" y="390"/>
                    </a:lnTo>
                    <a:lnTo>
                      <a:pt x="668" y="385"/>
                    </a:lnTo>
                    <a:lnTo>
                      <a:pt x="671" y="378"/>
                    </a:lnTo>
                    <a:lnTo>
                      <a:pt x="672" y="371"/>
                    </a:lnTo>
                    <a:lnTo>
                      <a:pt x="673" y="364"/>
                    </a:lnTo>
                    <a:lnTo>
                      <a:pt x="673" y="357"/>
                    </a:lnTo>
                    <a:lnTo>
                      <a:pt x="673" y="44"/>
                    </a:lnTo>
                    <a:lnTo>
                      <a:pt x="673" y="32"/>
                    </a:lnTo>
                    <a:lnTo>
                      <a:pt x="671" y="21"/>
                    </a:lnTo>
                    <a:lnTo>
                      <a:pt x="666" y="10"/>
                    </a:lnTo>
                    <a:lnTo>
                      <a:pt x="66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Freeform 18"/>
              <p:cNvSpPr>
                <a:spLocks/>
              </p:cNvSpPr>
              <p:nvPr/>
            </p:nvSpPr>
            <p:spPr bwMode="auto">
              <a:xfrm>
                <a:off x="11060112" y="1404649"/>
                <a:ext cx="222250" cy="89477"/>
              </a:xfrm>
              <a:custGeom>
                <a:avLst/>
                <a:gdLst>
                  <a:gd name="T0" fmla="*/ 617 w 617"/>
                  <a:gd name="T1" fmla="*/ 11 h 249"/>
                  <a:gd name="T2" fmla="*/ 608 w 617"/>
                  <a:gd name="T3" fmla="*/ 6 h 249"/>
                  <a:gd name="T4" fmla="*/ 599 w 617"/>
                  <a:gd name="T5" fmla="*/ 4 h 249"/>
                  <a:gd name="T6" fmla="*/ 587 w 617"/>
                  <a:gd name="T7" fmla="*/ 1 h 249"/>
                  <a:gd name="T8" fmla="*/ 575 w 617"/>
                  <a:gd name="T9" fmla="*/ 0 h 249"/>
                  <a:gd name="T10" fmla="*/ 46 w 617"/>
                  <a:gd name="T11" fmla="*/ 0 h 249"/>
                  <a:gd name="T12" fmla="*/ 34 w 617"/>
                  <a:gd name="T13" fmla="*/ 1 h 249"/>
                  <a:gd name="T14" fmla="*/ 21 w 617"/>
                  <a:gd name="T15" fmla="*/ 4 h 249"/>
                  <a:gd name="T16" fmla="*/ 10 w 617"/>
                  <a:gd name="T17" fmla="*/ 9 h 249"/>
                  <a:gd name="T18" fmla="*/ 0 w 617"/>
                  <a:gd name="T19" fmla="*/ 15 h 249"/>
                  <a:gd name="T20" fmla="*/ 322 w 617"/>
                  <a:gd name="T21" fmla="*/ 249 h 249"/>
                  <a:gd name="T22" fmla="*/ 617 w 617"/>
                  <a:gd name="T23" fmla="*/ 11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7" h="249">
                    <a:moveTo>
                      <a:pt x="617" y="11"/>
                    </a:moveTo>
                    <a:lnTo>
                      <a:pt x="608" y="6"/>
                    </a:lnTo>
                    <a:lnTo>
                      <a:pt x="599" y="4"/>
                    </a:lnTo>
                    <a:lnTo>
                      <a:pt x="587" y="1"/>
                    </a:lnTo>
                    <a:lnTo>
                      <a:pt x="575" y="0"/>
                    </a:lnTo>
                    <a:lnTo>
                      <a:pt x="46" y="0"/>
                    </a:lnTo>
                    <a:lnTo>
                      <a:pt x="34" y="1"/>
                    </a:lnTo>
                    <a:lnTo>
                      <a:pt x="21" y="4"/>
                    </a:lnTo>
                    <a:lnTo>
                      <a:pt x="10" y="9"/>
                    </a:lnTo>
                    <a:lnTo>
                      <a:pt x="0" y="15"/>
                    </a:lnTo>
                    <a:lnTo>
                      <a:pt x="322" y="249"/>
                    </a:lnTo>
                    <a:lnTo>
                      <a:pt x="617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20" name="Rectangle 19"/>
          <p:cNvSpPr/>
          <p:nvPr/>
        </p:nvSpPr>
        <p:spPr>
          <a:xfrm>
            <a:off x="5971176" y="3447282"/>
            <a:ext cx="3351465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hlinkClick r:id="rId2"/>
              </a:rPr>
              <a:t>fernandabaragao@ufrj.br</a:t>
            </a:r>
            <a:endParaRPr lang="en-US" sz="2400" dirty="0"/>
          </a:p>
        </p:txBody>
      </p:sp>
      <p:sp>
        <p:nvSpPr>
          <p:cNvPr id="23" name="Rectangle 22"/>
          <p:cNvSpPr/>
          <p:nvPr/>
        </p:nvSpPr>
        <p:spPr>
          <a:xfrm>
            <a:off x="5452639" y="1944717"/>
            <a:ext cx="5400253" cy="430887"/>
          </a:xfrm>
          <a:prstGeom prst="rect">
            <a:avLst/>
          </a:prstGeom>
        </p:spPr>
        <p:txBody>
          <a:bodyPr wrap="square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b="1" dirty="0">
                <a:latin typeface="Century Gothic" panose="020B0502020202020204" pitchFamily="34" charset="0"/>
              </a:rPr>
              <a:t>Fernanda Barros-</a:t>
            </a:r>
            <a:r>
              <a:rPr lang="en-US" sz="2200" b="1" dirty="0" err="1">
                <a:latin typeface="Century Gothic" panose="020B0502020202020204" pitchFamily="34" charset="0"/>
              </a:rPr>
              <a:t>Aragão</a:t>
            </a:r>
            <a:endParaRPr lang="en-US" sz="2200" b="1" dirty="0">
              <a:latin typeface="Century Gothic" panose="020B0502020202020204" pitchFamily="34" charset="0"/>
            </a:endParaRPr>
          </a:p>
        </p:txBody>
      </p:sp>
      <p:pic>
        <p:nvPicPr>
          <p:cNvPr id="38" name="Imagem 37">
            <a:extLst>
              <a:ext uri="{FF2B5EF4-FFF2-40B4-BE49-F238E27FC236}">
                <a16:creationId xmlns="" xmlns:a16="http://schemas.microsoft.com/office/drawing/2014/main" id="{61FAAF65-066A-A846-8081-A1B3E5D422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276" y="787617"/>
            <a:ext cx="5630894" cy="5630894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="" xmlns:a16="http://schemas.microsoft.com/office/drawing/2014/main" id="{C78D1847-0EA5-AA42-8363-2F2CCBAA35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5351" y="4111771"/>
            <a:ext cx="2543168" cy="2543168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="" xmlns:a16="http://schemas.microsoft.com/office/drawing/2014/main" id="{3A99AA9F-A1F7-BB4E-95B4-9F48422DE1F8}"/>
              </a:ext>
            </a:extLst>
          </p:cNvPr>
          <p:cNvSpPr/>
          <p:nvPr/>
        </p:nvSpPr>
        <p:spPr>
          <a:xfrm>
            <a:off x="5515086" y="4705151"/>
            <a:ext cx="373640" cy="373640"/>
          </a:xfrm>
          <a:prstGeom prst="ellipse">
            <a:avLst/>
          </a:prstGeom>
          <a:gradFill>
            <a:gsLst>
              <a:gs pos="0">
                <a:srgbClr val="285066"/>
              </a:gs>
              <a:gs pos="27000">
                <a:srgbClr val="366C89"/>
              </a:gs>
              <a:gs pos="100000">
                <a:srgbClr val="EF7D4F"/>
              </a:gs>
            </a:gsLst>
            <a:lin ang="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" name="Freeform 13">
            <a:extLst>
              <a:ext uri="{FF2B5EF4-FFF2-40B4-BE49-F238E27FC236}">
                <a16:creationId xmlns="" xmlns:a16="http://schemas.microsoft.com/office/drawing/2014/main" id="{F9050E50-4ACA-5545-9FCC-4DD885181080}"/>
              </a:ext>
            </a:extLst>
          </p:cNvPr>
          <p:cNvSpPr>
            <a:spLocks/>
          </p:cNvSpPr>
          <p:nvPr/>
        </p:nvSpPr>
        <p:spPr bwMode="auto">
          <a:xfrm>
            <a:off x="5585629" y="4797529"/>
            <a:ext cx="232559" cy="188880"/>
          </a:xfrm>
          <a:custGeom>
            <a:avLst/>
            <a:gdLst>
              <a:gd name="T0" fmla="*/ 393 w 393"/>
              <a:gd name="T1" fmla="*/ 38 h 319"/>
              <a:gd name="T2" fmla="*/ 347 w 393"/>
              <a:gd name="T3" fmla="*/ 52 h 319"/>
              <a:gd name="T4" fmla="*/ 359 w 393"/>
              <a:gd name="T5" fmla="*/ 42 h 319"/>
              <a:gd name="T6" fmla="*/ 377 w 393"/>
              <a:gd name="T7" fmla="*/ 20 h 319"/>
              <a:gd name="T8" fmla="*/ 383 w 393"/>
              <a:gd name="T9" fmla="*/ 6 h 319"/>
              <a:gd name="T10" fmla="*/ 345 w 393"/>
              <a:gd name="T11" fmla="*/ 22 h 319"/>
              <a:gd name="T12" fmla="*/ 331 w 393"/>
              <a:gd name="T13" fmla="*/ 26 h 319"/>
              <a:gd name="T14" fmla="*/ 305 w 393"/>
              <a:gd name="T15" fmla="*/ 8 h 319"/>
              <a:gd name="T16" fmla="*/ 273 w 393"/>
              <a:gd name="T17" fmla="*/ 0 h 319"/>
              <a:gd name="T18" fmla="*/ 255 w 393"/>
              <a:gd name="T19" fmla="*/ 2 h 319"/>
              <a:gd name="T20" fmla="*/ 227 w 393"/>
              <a:gd name="T21" fmla="*/ 14 h 319"/>
              <a:gd name="T22" fmla="*/ 205 w 393"/>
              <a:gd name="T23" fmla="*/ 36 h 319"/>
              <a:gd name="T24" fmla="*/ 193 w 393"/>
              <a:gd name="T25" fmla="*/ 64 h 319"/>
              <a:gd name="T26" fmla="*/ 191 w 393"/>
              <a:gd name="T27" fmla="*/ 82 h 319"/>
              <a:gd name="T28" fmla="*/ 193 w 393"/>
              <a:gd name="T29" fmla="*/ 100 h 319"/>
              <a:gd name="T30" fmla="*/ 145 w 393"/>
              <a:gd name="T31" fmla="*/ 92 h 319"/>
              <a:gd name="T32" fmla="*/ 99 w 393"/>
              <a:gd name="T33" fmla="*/ 74 h 319"/>
              <a:gd name="T34" fmla="*/ 62 w 393"/>
              <a:gd name="T35" fmla="*/ 48 h 319"/>
              <a:gd name="T36" fmla="*/ 28 w 393"/>
              <a:gd name="T37" fmla="*/ 16 h 319"/>
              <a:gd name="T38" fmla="*/ 24 w 393"/>
              <a:gd name="T39" fmla="*/ 24 h 319"/>
              <a:gd name="T40" fmla="*/ 18 w 393"/>
              <a:gd name="T41" fmla="*/ 44 h 319"/>
              <a:gd name="T42" fmla="*/ 16 w 393"/>
              <a:gd name="T43" fmla="*/ 56 h 319"/>
              <a:gd name="T44" fmla="*/ 20 w 393"/>
              <a:gd name="T45" fmla="*/ 76 h 319"/>
              <a:gd name="T46" fmla="*/ 26 w 393"/>
              <a:gd name="T47" fmla="*/ 94 h 319"/>
              <a:gd name="T48" fmla="*/ 52 w 393"/>
              <a:gd name="T49" fmla="*/ 124 h 319"/>
              <a:gd name="T50" fmla="*/ 34 w 393"/>
              <a:gd name="T51" fmla="*/ 120 h 319"/>
              <a:gd name="T52" fmla="*/ 16 w 393"/>
              <a:gd name="T53" fmla="*/ 114 h 319"/>
              <a:gd name="T54" fmla="*/ 16 w 393"/>
              <a:gd name="T55" fmla="*/ 114 h 319"/>
              <a:gd name="T56" fmla="*/ 22 w 393"/>
              <a:gd name="T57" fmla="*/ 142 h 319"/>
              <a:gd name="T58" fmla="*/ 34 w 393"/>
              <a:gd name="T59" fmla="*/ 166 h 319"/>
              <a:gd name="T60" fmla="*/ 56 w 393"/>
              <a:gd name="T61" fmla="*/ 183 h 319"/>
              <a:gd name="T62" fmla="*/ 82 w 393"/>
              <a:gd name="T63" fmla="*/ 193 h 319"/>
              <a:gd name="T64" fmla="*/ 70 w 393"/>
              <a:gd name="T65" fmla="*/ 195 h 319"/>
              <a:gd name="T66" fmla="*/ 60 w 393"/>
              <a:gd name="T67" fmla="*/ 195 h 319"/>
              <a:gd name="T68" fmla="*/ 44 w 393"/>
              <a:gd name="T69" fmla="*/ 193 h 319"/>
              <a:gd name="T70" fmla="*/ 56 w 393"/>
              <a:gd name="T71" fmla="*/ 215 h 319"/>
              <a:gd name="T72" fmla="*/ 72 w 393"/>
              <a:gd name="T73" fmla="*/ 233 h 319"/>
              <a:gd name="T74" fmla="*/ 93 w 393"/>
              <a:gd name="T75" fmla="*/ 245 h 319"/>
              <a:gd name="T76" fmla="*/ 119 w 393"/>
              <a:gd name="T77" fmla="*/ 249 h 319"/>
              <a:gd name="T78" fmla="*/ 97 w 393"/>
              <a:gd name="T79" fmla="*/ 265 h 319"/>
              <a:gd name="T80" fmla="*/ 48 w 393"/>
              <a:gd name="T81" fmla="*/ 283 h 319"/>
              <a:gd name="T82" fmla="*/ 20 w 393"/>
              <a:gd name="T83" fmla="*/ 285 h 319"/>
              <a:gd name="T84" fmla="*/ 0 w 393"/>
              <a:gd name="T85" fmla="*/ 283 h 319"/>
              <a:gd name="T86" fmla="*/ 28 w 393"/>
              <a:gd name="T87" fmla="*/ 299 h 319"/>
              <a:gd name="T88" fmla="*/ 89 w 393"/>
              <a:gd name="T89" fmla="*/ 317 h 319"/>
              <a:gd name="T90" fmla="*/ 123 w 393"/>
              <a:gd name="T91" fmla="*/ 319 h 319"/>
              <a:gd name="T92" fmla="*/ 151 w 393"/>
              <a:gd name="T93" fmla="*/ 319 h 319"/>
              <a:gd name="T94" fmla="*/ 199 w 393"/>
              <a:gd name="T95" fmla="*/ 307 h 319"/>
              <a:gd name="T96" fmla="*/ 243 w 393"/>
              <a:gd name="T97" fmla="*/ 287 h 319"/>
              <a:gd name="T98" fmla="*/ 279 w 393"/>
              <a:gd name="T99" fmla="*/ 261 h 319"/>
              <a:gd name="T100" fmla="*/ 307 w 393"/>
              <a:gd name="T101" fmla="*/ 227 h 319"/>
              <a:gd name="T102" fmla="*/ 329 w 393"/>
              <a:gd name="T103" fmla="*/ 191 h 319"/>
              <a:gd name="T104" fmla="*/ 345 w 393"/>
              <a:gd name="T105" fmla="*/ 152 h 319"/>
              <a:gd name="T106" fmla="*/ 353 w 393"/>
              <a:gd name="T107" fmla="*/ 110 h 319"/>
              <a:gd name="T108" fmla="*/ 353 w 393"/>
              <a:gd name="T109" fmla="*/ 90 h 319"/>
              <a:gd name="T110" fmla="*/ 353 w 393"/>
              <a:gd name="T111" fmla="*/ 80 h 319"/>
              <a:gd name="T112" fmla="*/ 375 w 393"/>
              <a:gd name="T113" fmla="*/ 62 h 319"/>
              <a:gd name="T114" fmla="*/ 393 w 393"/>
              <a:gd name="T115" fmla="*/ 38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93" h="319">
                <a:moveTo>
                  <a:pt x="393" y="38"/>
                </a:moveTo>
                <a:lnTo>
                  <a:pt x="393" y="38"/>
                </a:lnTo>
                <a:lnTo>
                  <a:pt x="371" y="46"/>
                </a:lnTo>
                <a:lnTo>
                  <a:pt x="347" y="52"/>
                </a:lnTo>
                <a:lnTo>
                  <a:pt x="347" y="52"/>
                </a:lnTo>
                <a:lnTo>
                  <a:pt x="359" y="42"/>
                </a:lnTo>
                <a:lnTo>
                  <a:pt x="369" y="32"/>
                </a:lnTo>
                <a:lnTo>
                  <a:pt x="377" y="20"/>
                </a:lnTo>
                <a:lnTo>
                  <a:pt x="383" y="6"/>
                </a:lnTo>
                <a:lnTo>
                  <a:pt x="383" y="6"/>
                </a:lnTo>
                <a:lnTo>
                  <a:pt x="357" y="18"/>
                </a:lnTo>
                <a:lnTo>
                  <a:pt x="345" y="22"/>
                </a:lnTo>
                <a:lnTo>
                  <a:pt x="331" y="26"/>
                </a:lnTo>
                <a:lnTo>
                  <a:pt x="331" y="26"/>
                </a:lnTo>
                <a:lnTo>
                  <a:pt x="319" y="16"/>
                </a:lnTo>
                <a:lnTo>
                  <a:pt x="305" y="8"/>
                </a:lnTo>
                <a:lnTo>
                  <a:pt x="289" y="2"/>
                </a:lnTo>
                <a:lnTo>
                  <a:pt x="273" y="0"/>
                </a:lnTo>
                <a:lnTo>
                  <a:pt x="273" y="0"/>
                </a:lnTo>
                <a:lnTo>
                  <a:pt x="255" y="2"/>
                </a:lnTo>
                <a:lnTo>
                  <a:pt x="241" y="6"/>
                </a:lnTo>
                <a:lnTo>
                  <a:pt x="227" y="14"/>
                </a:lnTo>
                <a:lnTo>
                  <a:pt x="215" y="24"/>
                </a:lnTo>
                <a:lnTo>
                  <a:pt x="205" y="36"/>
                </a:lnTo>
                <a:lnTo>
                  <a:pt x="197" y="50"/>
                </a:lnTo>
                <a:lnTo>
                  <a:pt x="193" y="64"/>
                </a:lnTo>
                <a:lnTo>
                  <a:pt x="191" y="82"/>
                </a:lnTo>
                <a:lnTo>
                  <a:pt x="191" y="82"/>
                </a:lnTo>
                <a:lnTo>
                  <a:pt x="193" y="100"/>
                </a:lnTo>
                <a:lnTo>
                  <a:pt x="193" y="100"/>
                </a:lnTo>
                <a:lnTo>
                  <a:pt x="169" y="98"/>
                </a:lnTo>
                <a:lnTo>
                  <a:pt x="145" y="92"/>
                </a:lnTo>
                <a:lnTo>
                  <a:pt x="121" y="84"/>
                </a:lnTo>
                <a:lnTo>
                  <a:pt x="99" y="74"/>
                </a:lnTo>
                <a:lnTo>
                  <a:pt x="80" y="62"/>
                </a:lnTo>
                <a:lnTo>
                  <a:pt x="62" y="48"/>
                </a:lnTo>
                <a:lnTo>
                  <a:pt x="44" y="32"/>
                </a:lnTo>
                <a:lnTo>
                  <a:pt x="28" y="16"/>
                </a:lnTo>
                <a:lnTo>
                  <a:pt x="28" y="16"/>
                </a:lnTo>
                <a:lnTo>
                  <a:pt x="24" y="24"/>
                </a:lnTo>
                <a:lnTo>
                  <a:pt x="20" y="34"/>
                </a:lnTo>
                <a:lnTo>
                  <a:pt x="18" y="44"/>
                </a:lnTo>
                <a:lnTo>
                  <a:pt x="16" y="56"/>
                </a:lnTo>
                <a:lnTo>
                  <a:pt x="16" y="56"/>
                </a:lnTo>
                <a:lnTo>
                  <a:pt x="18" y="66"/>
                </a:lnTo>
                <a:lnTo>
                  <a:pt x="20" y="76"/>
                </a:lnTo>
                <a:lnTo>
                  <a:pt x="22" y="86"/>
                </a:lnTo>
                <a:lnTo>
                  <a:pt x="26" y="94"/>
                </a:lnTo>
                <a:lnTo>
                  <a:pt x="38" y="110"/>
                </a:lnTo>
                <a:lnTo>
                  <a:pt x="52" y="124"/>
                </a:lnTo>
                <a:lnTo>
                  <a:pt x="52" y="124"/>
                </a:lnTo>
                <a:lnTo>
                  <a:pt x="34" y="120"/>
                </a:lnTo>
                <a:lnTo>
                  <a:pt x="16" y="114"/>
                </a:lnTo>
                <a:lnTo>
                  <a:pt x="16" y="114"/>
                </a:lnTo>
                <a:lnTo>
                  <a:pt x="16" y="114"/>
                </a:lnTo>
                <a:lnTo>
                  <a:pt x="16" y="114"/>
                </a:lnTo>
                <a:lnTo>
                  <a:pt x="18" y="128"/>
                </a:lnTo>
                <a:lnTo>
                  <a:pt x="22" y="142"/>
                </a:lnTo>
                <a:lnTo>
                  <a:pt x="26" y="154"/>
                </a:lnTo>
                <a:lnTo>
                  <a:pt x="34" y="166"/>
                </a:lnTo>
                <a:lnTo>
                  <a:pt x="44" y="176"/>
                </a:lnTo>
                <a:lnTo>
                  <a:pt x="56" y="183"/>
                </a:lnTo>
                <a:lnTo>
                  <a:pt x="68" y="189"/>
                </a:lnTo>
                <a:lnTo>
                  <a:pt x="82" y="193"/>
                </a:lnTo>
                <a:lnTo>
                  <a:pt x="82" y="193"/>
                </a:lnTo>
                <a:lnTo>
                  <a:pt x="70" y="195"/>
                </a:lnTo>
                <a:lnTo>
                  <a:pt x="60" y="195"/>
                </a:lnTo>
                <a:lnTo>
                  <a:pt x="60" y="195"/>
                </a:lnTo>
                <a:lnTo>
                  <a:pt x="44" y="193"/>
                </a:lnTo>
                <a:lnTo>
                  <a:pt x="44" y="193"/>
                </a:lnTo>
                <a:lnTo>
                  <a:pt x="50" y="205"/>
                </a:lnTo>
                <a:lnTo>
                  <a:pt x="56" y="215"/>
                </a:lnTo>
                <a:lnTo>
                  <a:pt x="64" y="225"/>
                </a:lnTo>
                <a:lnTo>
                  <a:pt x="72" y="233"/>
                </a:lnTo>
                <a:lnTo>
                  <a:pt x="84" y="241"/>
                </a:lnTo>
                <a:lnTo>
                  <a:pt x="93" y="245"/>
                </a:lnTo>
                <a:lnTo>
                  <a:pt x="107" y="249"/>
                </a:lnTo>
                <a:lnTo>
                  <a:pt x="119" y="249"/>
                </a:lnTo>
                <a:lnTo>
                  <a:pt x="119" y="249"/>
                </a:lnTo>
                <a:lnTo>
                  <a:pt x="97" y="265"/>
                </a:lnTo>
                <a:lnTo>
                  <a:pt x="74" y="275"/>
                </a:lnTo>
                <a:lnTo>
                  <a:pt x="48" y="283"/>
                </a:lnTo>
                <a:lnTo>
                  <a:pt x="34" y="283"/>
                </a:lnTo>
                <a:lnTo>
                  <a:pt x="20" y="285"/>
                </a:lnTo>
                <a:lnTo>
                  <a:pt x="20" y="285"/>
                </a:lnTo>
                <a:lnTo>
                  <a:pt x="0" y="283"/>
                </a:lnTo>
                <a:lnTo>
                  <a:pt x="0" y="283"/>
                </a:lnTo>
                <a:lnTo>
                  <a:pt x="28" y="299"/>
                </a:lnTo>
                <a:lnTo>
                  <a:pt x="58" y="311"/>
                </a:lnTo>
                <a:lnTo>
                  <a:pt x="89" y="317"/>
                </a:lnTo>
                <a:lnTo>
                  <a:pt x="107" y="319"/>
                </a:lnTo>
                <a:lnTo>
                  <a:pt x="123" y="319"/>
                </a:lnTo>
                <a:lnTo>
                  <a:pt x="123" y="319"/>
                </a:lnTo>
                <a:lnTo>
                  <a:pt x="151" y="319"/>
                </a:lnTo>
                <a:lnTo>
                  <a:pt x="175" y="315"/>
                </a:lnTo>
                <a:lnTo>
                  <a:pt x="199" y="307"/>
                </a:lnTo>
                <a:lnTo>
                  <a:pt x="223" y="299"/>
                </a:lnTo>
                <a:lnTo>
                  <a:pt x="243" y="287"/>
                </a:lnTo>
                <a:lnTo>
                  <a:pt x="261" y="275"/>
                </a:lnTo>
                <a:lnTo>
                  <a:pt x="279" y="261"/>
                </a:lnTo>
                <a:lnTo>
                  <a:pt x="295" y="245"/>
                </a:lnTo>
                <a:lnTo>
                  <a:pt x="307" y="227"/>
                </a:lnTo>
                <a:lnTo>
                  <a:pt x="319" y="209"/>
                </a:lnTo>
                <a:lnTo>
                  <a:pt x="329" y="191"/>
                </a:lnTo>
                <a:lnTo>
                  <a:pt x="339" y="172"/>
                </a:lnTo>
                <a:lnTo>
                  <a:pt x="345" y="152"/>
                </a:lnTo>
                <a:lnTo>
                  <a:pt x="349" y="132"/>
                </a:lnTo>
                <a:lnTo>
                  <a:pt x="353" y="110"/>
                </a:lnTo>
                <a:lnTo>
                  <a:pt x="353" y="90"/>
                </a:lnTo>
                <a:lnTo>
                  <a:pt x="353" y="90"/>
                </a:lnTo>
                <a:lnTo>
                  <a:pt x="353" y="80"/>
                </a:lnTo>
                <a:lnTo>
                  <a:pt x="353" y="80"/>
                </a:lnTo>
                <a:lnTo>
                  <a:pt x="365" y="72"/>
                </a:lnTo>
                <a:lnTo>
                  <a:pt x="375" y="62"/>
                </a:lnTo>
                <a:lnTo>
                  <a:pt x="385" y="50"/>
                </a:lnTo>
                <a:lnTo>
                  <a:pt x="393" y="38"/>
                </a:lnTo>
                <a:lnTo>
                  <a:pt x="393" y="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Rectangle 19">
            <a:extLst>
              <a:ext uri="{FF2B5EF4-FFF2-40B4-BE49-F238E27FC236}">
                <a16:creationId xmlns="" xmlns:a16="http://schemas.microsoft.com/office/drawing/2014/main" id="{21B6B4D6-BB91-9746-B1DC-9C58E749EAC5}"/>
              </a:ext>
            </a:extLst>
          </p:cNvPr>
          <p:cNvSpPr/>
          <p:nvPr/>
        </p:nvSpPr>
        <p:spPr>
          <a:xfrm>
            <a:off x="5953194" y="4351220"/>
            <a:ext cx="3351465" cy="72757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en-US" sz="2400" dirty="0">
                <a:latin typeface="Calibri Light" panose="020F0302020204030204" pitchFamily="34" charset="0"/>
              </a:rPr>
              <a:t>@</a:t>
            </a:r>
            <a:r>
              <a:rPr lang="en-US" sz="2400" dirty="0" err="1">
                <a:latin typeface="Calibri Light" panose="020F0302020204030204" pitchFamily="34" charset="0"/>
              </a:rPr>
              <a:t>fernandabaragao</a:t>
            </a:r>
            <a:endParaRPr lang="en-US" sz="2400" dirty="0">
              <a:latin typeface="Calibri Light" panose="020F0302020204030204" pitchFamily="34" charset="0"/>
            </a:endParaRPr>
          </a:p>
        </p:txBody>
      </p:sp>
      <p:sp>
        <p:nvSpPr>
          <p:cNvPr id="24" name="Rectangle 19">
            <a:extLst>
              <a:ext uri="{FF2B5EF4-FFF2-40B4-BE49-F238E27FC236}">
                <a16:creationId xmlns="" xmlns:a16="http://schemas.microsoft.com/office/drawing/2014/main" id="{29591FEA-4729-3D4D-AC51-69380253A3CD}"/>
              </a:ext>
            </a:extLst>
          </p:cNvPr>
          <p:cNvSpPr/>
          <p:nvPr/>
        </p:nvSpPr>
        <p:spPr>
          <a:xfrm>
            <a:off x="5990063" y="4060387"/>
            <a:ext cx="3351465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hlinkClick r:id="rId5"/>
              </a:rPr>
              <a:t>www.neuropod.com.br</a:t>
            </a:r>
            <a:endParaRPr lang="en-US" sz="2400" dirty="0"/>
          </a:p>
          <a:p>
            <a:endParaRPr lang="en-US" sz="2400" dirty="0"/>
          </a:p>
        </p:txBody>
      </p:sp>
      <p:sp>
        <p:nvSpPr>
          <p:cNvPr id="25" name="Title 1">
            <a:extLst>
              <a:ext uri="{FF2B5EF4-FFF2-40B4-BE49-F238E27FC236}">
                <a16:creationId xmlns="" xmlns:a16="http://schemas.microsoft.com/office/drawing/2014/main" id="{B81B81D5-7102-2C42-BE3E-520D7DCF766B}"/>
              </a:ext>
            </a:extLst>
          </p:cNvPr>
          <p:cNvSpPr txBox="1">
            <a:spLocks/>
          </p:cNvSpPr>
          <p:nvPr/>
        </p:nvSpPr>
        <p:spPr>
          <a:xfrm>
            <a:off x="5136328" y="587805"/>
            <a:ext cx="6728012" cy="7478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b="1" dirty="0" err="1">
                <a:gradFill>
                  <a:gsLst>
                    <a:gs pos="0">
                      <a:srgbClr val="285066"/>
                    </a:gs>
                    <a:gs pos="45000">
                      <a:srgbClr val="366C89"/>
                    </a:gs>
                    <a:gs pos="100000">
                      <a:srgbClr val="EF7D4F"/>
                    </a:gs>
                  </a:gsLst>
                  <a:lin ang="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Obrigada</a:t>
            </a:r>
            <a:r>
              <a:rPr lang="en-US" sz="5400" b="1" dirty="0">
                <a:gradFill>
                  <a:gsLst>
                    <a:gs pos="0">
                      <a:srgbClr val="285066"/>
                    </a:gs>
                    <a:gs pos="45000">
                      <a:srgbClr val="366C89"/>
                    </a:gs>
                    <a:gs pos="100000">
                      <a:srgbClr val="EF7D4F"/>
                    </a:gs>
                  </a:gsLst>
                  <a:lin ang="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 pela </a:t>
            </a:r>
            <a:r>
              <a:rPr lang="en-US" sz="5400" b="1" dirty="0" err="1">
                <a:gradFill>
                  <a:gsLst>
                    <a:gs pos="0">
                      <a:srgbClr val="285066"/>
                    </a:gs>
                    <a:gs pos="45000">
                      <a:srgbClr val="366C89"/>
                    </a:gs>
                    <a:gs pos="100000">
                      <a:srgbClr val="EF7D4F"/>
                    </a:gs>
                  </a:gsLst>
                  <a:lin ang="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tenção</a:t>
            </a:r>
            <a:r>
              <a:rPr lang="en-US" sz="5400" b="1" dirty="0">
                <a:gradFill>
                  <a:gsLst>
                    <a:gs pos="0">
                      <a:srgbClr val="285066"/>
                    </a:gs>
                    <a:gs pos="45000">
                      <a:srgbClr val="366C89"/>
                    </a:gs>
                    <a:gs pos="100000">
                      <a:srgbClr val="EF7D4F"/>
                    </a:gs>
                  </a:gsLst>
                  <a:lin ang="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40530206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ounded Rectangle 55">
            <a:extLst>
              <a:ext uri="{FF2B5EF4-FFF2-40B4-BE49-F238E27FC236}">
                <a16:creationId xmlns="" xmlns:a16="http://schemas.microsoft.com/office/drawing/2014/main" id="{3DE5CF1A-240F-2240-A9E0-84CFDF245707}"/>
              </a:ext>
            </a:extLst>
          </p:cNvPr>
          <p:cNvSpPr/>
          <p:nvPr/>
        </p:nvSpPr>
        <p:spPr>
          <a:xfrm rot="2700000">
            <a:off x="5190539" y="4465250"/>
            <a:ext cx="1657819" cy="1657819"/>
          </a:xfrm>
          <a:prstGeom prst="roundRect">
            <a:avLst>
              <a:gd name="adj" fmla="val 7478"/>
            </a:avLst>
          </a:prstGeom>
          <a:gradFill flip="none" rotWithShape="1">
            <a:gsLst>
              <a:gs pos="15000">
                <a:srgbClr val="8497B0"/>
              </a:gs>
              <a:gs pos="48000">
                <a:srgbClr val="D9D9D9"/>
              </a:gs>
              <a:gs pos="94000">
                <a:srgbClr val="D9D9D9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Rounded Rectangle 48"/>
          <p:cNvSpPr/>
          <p:nvPr/>
        </p:nvSpPr>
        <p:spPr>
          <a:xfrm rot="2700000">
            <a:off x="2257548" y="4465249"/>
            <a:ext cx="1657819" cy="1657819"/>
          </a:xfrm>
          <a:prstGeom prst="roundRect">
            <a:avLst>
              <a:gd name="adj" fmla="val 7478"/>
            </a:avLst>
          </a:prstGeom>
          <a:gradFill flip="none" rotWithShape="1">
            <a:gsLst>
              <a:gs pos="15000">
                <a:srgbClr val="285066"/>
              </a:gs>
              <a:gs pos="29000">
                <a:srgbClr val="366C89"/>
              </a:gs>
              <a:gs pos="92000">
                <a:srgbClr val="EF7D4F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082926" y="970582"/>
            <a:ext cx="6026150" cy="61555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pt-BR" sz="2000" dirty="0">
                <a:latin typeface="Century Gothic" panose="020B0502020202020204" pitchFamily="34" charset="0"/>
              </a:rPr>
              <a:t>O vírus da Zika infecta o cérebro adulto e pode trazer problemas na memória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96480" y="183601"/>
            <a:ext cx="2999040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4800" b="1" dirty="0">
                <a:gradFill>
                  <a:gsLst>
                    <a:gs pos="0">
                      <a:srgbClr val="285066"/>
                    </a:gs>
                    <a:gs pos="24000">
                      <a:srgbClr val="366C89"/>
                    </a:gs>
                    <a:gs pos="100000">
                      <a:srgbClr val="EF7D4F"/>
                    </a:gs>
                  </a:gsLst>
                  <a:lin ang="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GENDA</a:t>
            </a:r>
            <a:endParaRPr lang="pt-BR" sz="4800" dirty="0">
              <a:gradFill>
                <a:gsLst>
                  <a:gs pos="0">
                    <a:srgbClr val="285066"/>
                  </a:gs>
                  <a:gs pos="24000">
                    <a:srgbClr val="366C89"/>
                  </a:gs>
                  <a:gs pos="100000">
                    <a:srgbClr val="EF7D4F"/>
                  </a:gs>
                </a:gsLst>
                <a:lin ang="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3082925" y="883328"/>
            <a:ext cx="6026150" cy="0"/>
          </a:xfrm>
          <a:prstGeom prst="line">
            <a:avLst/>
          </a:prstGeom>
          <a:ln w="12700" cap="rnd">
            <a:gradFill flip="none" rotWithShape="1">
              <a:gsLst>
                <a:gs pos="0">
                  <a:srgbClr val="285066"/>
                </a:gs>
                <a:gs pos="45000">
                  <a:srgbClr val="366C89"/>
                </a:gs>
                <a:gs pos="100000">
                  <a:srgbClr val="EF7D4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 txBox="1">
            <a:spLocks/>
          </p:cNvSpPr>
          <p:nvPr/>
        </p:nvSpPr>
        <p:spPr>
          <a:xfrm>
            <a:off x="2865441" y="1861452"/>
            <a:ext cx="47157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8000" b="1" dirty="0">
                <a:solidFill>
                  <a:schemeClr val="tx2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1</a:t>
            </a:r>
            <a:endParaRPr lang="pt-BR" sz="8000" dirty="0">
              <a:solidFill>
                <a:schemeClr val="tx2"/>
              </a:solidFill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5808150" y="1861452"/>
            <a:ext cx="47157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8000" b="1">
                <a:solidFill>
                  <a:schemeClr val="bg1">
                    <a:lumMod val="85000"/>
                  </a:schemeClr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2</a:t>
            </a:r>
            <a:endParaRPr lang="pt-BR" sz="8000">
              <a:solidFill>
                <a:schemeClr val="bg1">
                  <a:lumMod val="85000"/>
                </a:schemeClr>
              </a:solidFill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8760899" y="1861452"/>
            <a:ext cx="47157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8000" b="1">
                <a:solidFill>
                  <a:schemeClr val="bg1">
                    <a:lumMod val="85000"/>
                  </a:schemeClr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3</a:t>
            </a:r>
            <a:endParaRPr lang="pt-BR" sz="8000">
              <a:solidFill>
                <a:schemeClr val="bg1">
                  <a:lumMod val="85000"/>
                </a:schemeClr>
              </a:solidFill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4544938" y="1915239"/>
            <a:ext cx="0" cy="4348849"/>
          </a:xfrm>
          <a:prstGeom prst="line">
            <a:avLst/>
          </a:prstGeom>
          <a:ln>
            <a:gradFill>
              <a:gsLst>
                <a:gs pos="0">
                  <a:srgbClr val="24475A"/>
                </a:gs>
                <a:gs pos="50000">
                  <a:srgbClr val="366C89"/>
                </a:gs>
                <a:gs pos="100000">
                  <a:srgbClr val="EF7D4F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512426" y="1915239"/>
            <a:ext cx="0" cy="4348849"/>
          </a:xfrm>
          <a:prstGeom prst="line">
            <a:avLst/>
          </a:prstGeom>
          <a:ln>
            <a:gradFill>
              <a:gsLst>
                <a:gs pos="0">
                  <a:srgbClr val="24475A"/>
                </a:gs>
                <a:gs pos="50000">
                  <a:srgbClr val="366C89"/>
                </a:gs>
                <a:gs pos="100000">
                  <a:srgbClr val="EF7D4F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/>
          <p:cNvSpPr txBox="1">
            <a:spLocks/>
          </p:cNvSpPr>
          <p:nvPr/>
        </p:nvSpPr>
        <p:spPr>
          <a:xfrm>
            <a:off x="1845889" y="3038121"/>
            <a:ext cx="2510682" cy="9233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pt-BR" sz="2000" b="1" dirty="0">
                <a:latin typeface="Century Gothic" panose="020B0502020202020204" pitchFamily="34" charset="0"/>
              </a:rPr>
              <a:t>Por que estudar os efeitos do vírus da Zika em adultos?</a:t>
            </a: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4788598" y="3192009"/>
            <a:ext cx="2510682" cy="61555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pt-BR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O que descobrimos?</a:t>
            </a:r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7741347" y="3192009"/>
            <a:ext cx="2510682" cy="61555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pt-BR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Quais são as perspectivas?</a:t>
            </a:r>
          </a:p>
        </p:txBody>
      </p:sp>
      <p:sp>
        <p:nvSpPr>
          <p:cNvPr id="56" name="Rounded Rectangle 55"/>
          <p:cNvSpPr/>
          <p:nvPr/>
        </p:nvSpPr>
        <p:spPr>
          <a:xfrm rot="2700000">
            <a:off x="8167261" y="4465250"/>
            <a:ext cx="1657819" cy="1657819"/>
          </a:xfrm>
          <a:prstGeom prst="roundRect">
            <a:avLst>
              <a:gd name="adj" fmla="val 7478"/>
            </a:avLst>
          </a:prstGeom>
          <a:gradFill flip="none" rotWithShape="1">
            <a:gsLst>
              <a:gs pos="15000">
                <a:srgbClr val="8497B0"/>
              </a:gs>
              <a:gs pos="48000">
                <a:srgbClr val="D9D9D9"/>
              </a:gs>
              <a:gs pos="94000">
                <a:srgbClr val="D9D9D9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="" xmlns:a16="http://schemas.microsoft.com/office/drawing/2014/main" id="{FFC05DF5-C4FA-3C4E-8867-E5E1C7325CF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9384" y="4824025"/>
            <a:ext cx="1273329" cy="811748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="" xmlns:a16="http://schemas.microsoft.com/office/drawing/2014/main" id="{D6F9F508-333E-934B-8342-22EDA594F63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 amt="3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8806" y="4824022"/>
            <a:ext cx="1441009" cy="870609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="" xmlns:a16="http://schemas.microsoft.com/office/drawing/2014/main" id="{8C2FC30C-8717-9743-81FE-8EC2BCC7A76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alphaModFix amt="3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7119" y="4747052"/>
            <a:ext cx="1506227" cy="1024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7350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416381" y="852461"/>
            <a:ext cx="5369465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800" b="1">
                <a:gradFill flip="none" rotWithShape="1">
                  <a:gsLst>
                    <a:gs pos="0">
                      <a:srgbClr val="285066"/>
                    </a:gs>
                    <a:gs pos="24000">
                      <a:srgbClr val="366C89"/>
                    </a:gs>
                    <a:gs pos="100000">
                      <a:srgbClr val="EF7D4F"/>
                    </a:gs>
                  </a:gsLst>
                  <a:lin ang="0" scaled="1"/>
                  <a:tileRect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Vírus da Zika (ZIKV)</a:t>
            </a:r>
            <a:endParaRPr lang="pt-BR" sz="4800">
              <a:gradFill flip="none" rotWithShape="1">
                <a:gsLst>
                  <a:gs pos="0">
                    <a:srgbClr val="285066"/>
                  </a:gs>
                  <a:gs pos="24000">
                    <a:srgbClr val="366C89"/>
                  </a:gs>
                  <a:gs pos="100000">
                    <a:srgbClr val="EF7D4F"/>
                  </a:gs>
                </a:gsLst>
                <a:lin ang="0" scaled="1"/>
                <a:tileRect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276638" y="1639501"/>
            <a:ext cx="5209762" cy="0"/>
          </a:xfrm>
          <a:prstGeom prst="line">
            <a:avLst/>
          </a:prstGeom>
          <a:ln w="12700" cap="rnd">
            <a:gradFill flip="none" rotWithShape="1">
              <a:gsLst>
                <a:gs pos="0">
                  <a:srgbClr val="285066"/>
                </a:gs>
                <a:gs pos="50000">
                  <a:srgbClr val="366C89"/>
                </a:gs>
                <a:gs pos="100000">
                  <a:srgbClr val="EF7D4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reeform 19"/>
          <p:cNvSpPr>
            <a:spLocks/>
          </p:cNvSpPr>
          <p:nvPr/>
        </p:nvSpPr>
        <p:spPr bwMode="auto">
          <a:xfrm>
            <a:off x="5874301" y="390233"/>
            <a:ext cx="6026150" cy="946149"/>
          </a:xfrm>
          <a:custGeom>
            <a:avLst/>
            <a:gdLst>
              <a:gd name="T0" fmla="*/ 345 w 6640"/>
              <a:gd name="T1" fmla="*/ 2 h 1539"/>
              <a:gd name="T2" fmla="*/ 364 w 6640"/>
              <a:gd name="T3" fmla="*/ 106 h 1539"/>
              <a:gd name="T4" fmla="*/ 144 w 6640"/>
              <a:gd name="T5" fmla="*/ 295 h 1539"/>
              <a:gd name="T6" fmla="*/ 60 w 6640"/>
              <a:gd name="T7" fmla="*/ 650 h 1539"/>
              <a:gd name="T8" fmla="*/ 34 w 6640"/>
              <a:gd name="T9" fmla="*/ 818 h 1539"/>
              <a:gd name="T10" fmla="*/ 138 w 6640"/>
              <a:gd name="T11" fmla="*/ 979 h 1539"/>
              <a:gd name="T12" fmla="*/ 187 w 6640"/>
              <a:gd name="T13" fmla="*/ 1018 h 1539"/>
              <a:gd name="T14" fmla="*/ 118 w 6640"/>
              <a:gd name="T15" fmla="*/ 1121 h 1539"/>
              <a:gd name="T16" fmla="*/ 162 w 6640"/>
              <a:gd name="T17" fmla="*/ 1119 h 1539"/>
              <a:gd name="T18" fmla="*/ 198 w 6640"/>
              <a:gd name="T19" fmla="*/ 1163 h 1539"/>
              <a:gd name="T20" fmla="*/ 263 w 6640"/>
              <a:gd name="T21" fmla="*/ 1267 h 1539"/>
              <a:gd name="T22" fmla="*/ 226 w 6640"/>
              <a:gd name="T23" fmla="*/ 1384 h 1539"/>
              <a:gd name="T24" fmla="*/ 5667 w 6640"/>
              <a:gd name="T25" fmla="*/ 1503 h 1539"/>
              <a:gd name="T26" fmla="*/ 6157 w 6640"/>
              <a:gd name="T27" fmla="*/ 1407 h 1539"/>
              <a:gd name="T28" fmla="*/ 6299 w 6640"/>
              <a:gd name="T29" fmla="*/ 1120 h 1539"/>
              <a:gd name="T30" fmla="*/ 6429 w 6640"/>
              <a:gd name="T31" fmla="*/ 931 h 1539"/>
              <a:gd name="T32" fmla="*/ 6521 w 6640"/>
              <a:gd name="T33" fmla="*/ 701 h 1539"/>
              <a:gd name="T34" fmla="*/ 6313 w 6640"/>
              <a:gd name="T35" fmla="*/ 700 h 1539"/>
              <a:gd name="T36" fmla="*/ 6514 w 6640"/>
              <a:gd name="T37" fmla="*/ 324 h 1539"/>
              <a:gd name="T38" fmla="*/ 6479 w 6640"/>
              <a:gd name="T39" fmla="*/ 324 h 1539"/>
              <a:gd name="T40" fmla="*/ 6590 w 6640"/>
              <a:gd name="T41" fmla="*/ 135 h 1539"/>
              <a:gd name="T42" fmla="*/ 6556 w 6640"/>
              <a:gd name="T43" fmla="*/ 3 h 1539"/>
              <a:gd name="T44" fmla="*/ 345 w 6640"/>
              <a:gd name="T45" fmla="*/ 2 h 1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640" h="1539">
                <a:moveTo>
                  <a:pt x="345" y="2"/>
                </a:moveTo>
                <a:cubicBezTo>
                  <a:pt x="327" y="2"/>
                  <a:pt x="378" y="70"/>
                  <a:pt x="364" y="106"/>
                </a:cubicBezTo>
                <a:cubicBezTo>
                  <a:pt x="350" y="142"/>
                  <a:pt x="190" y="205"/>
                  <a:pt x="144" y="295"/>
                </a:cubicBezTo>
                <a:cubicBezTo>
                  <a:pt x="98" y="385"/>
                  <a:pt x="95" y="569"/>
                  <a:pt x="60" y="650"/>
                </a:cubicBezTo>
                <a:cubicBezTo>
                  <a:pt x="25" y="731"/>
                  <a:pt x="0" y="766"/>
                  <a:pt x="34" y="818"/>
                </a:cubicBezTo>
                <a:cubicBezTo>
                  <a:pt x="68" y="871"/>
                  <a:pt x="114" y="977"/>
                  <a:pt x="138" y="979"/>
                </a:cubicBezTo>
                <a:cubicBezTo>
                  <a:pt x="161" y="980"/>
                  <a:pt x="209" y="976"/>
                  <a:pt x="187" y="1018"/>
                </a:cubicBezTo>
                <a:cubicBezTo>
                  <a:pt x="165" y="1060"/>
                  <a:pt x="172" y="1086"/>
                  <a:pt x="118" y="1121"/>
                </a:cubicBezTo>
                <a:cubicBezTo>
                  <a:pt x="118" y="1121"/>
                  <a:pt x="107" y="1134"/>
                  <a:pt x="162" y="1119"/>
                </a:cubicBezTo>
                <a:cubicBezTo>
                  <a:pt x="162" y="1119"/>
                  <a:pt x="176" y="1115"/>
                  <a:pt x="198" y="1163"/>
                </a:cubicBezTo>
                <a:cubicBezTo>
                  <a:pt x="220" y="1211"/>
                  <a:pt x="242" y="1267"/>
                  <a:pt x="263" y="1267"/>
                </a:cubicBezTo>
                <a:cubicBezTo>
                  <a:pt x="285" y="1267"/>
                  <a:pt x="253" y="1354"/>
                  <a:pt x="226" y="1384"/>
                </a:cubicBezTo>
                <a:cubicBezTo>
                  <a:pt x="87" y="1539"/>
                  <a:pt x="5493" y="1535"/>
                  <a:pt x="5667" y="1503"/>
                </a:cubicBezTo>
                <a:cubicBezTo>
                  <a:pt x="5841" y="1472"/>
                  <a:pt x="6061" y="1489"/>
                  <a:pt x="6157" y="1407"/>
                </a:cubicBezTo>
                <a:cubicBezTo>
                  <a:pt x="6254" y="1325"/>
                  <a:pt x="6286" y="1266"/>
                  <a:pt x="6299" y="1120"/>
                </a:cubicBezTo>
                <a:cubicBezTo>
                  <a:pt x="6313" y="975"/>
                  <a:pt x="6373" y="980"/>
                  <a:pt x="6429" y="931"/>
                </a:cubicBezTo>
                <a:cubicBezTo>
                  <a:pt x="6485" y="881"/>
                  <a:pt x="6501" y="757"/>
                  <a:pt x="6521" y="701"/>
                </a:cubicBezTo>
                <a:cubicBezTo>
                  <a:pt x="6521" y="701"/>
                  <a:pt x="6289" y="748"/>
                  <a:pt x="6313" y="700"/>
                </a:cubicBezTo>
                <a:cubicBezTo>
                  <a:pt x="6337" y="652"/>
                  <a:pt x="6492" y="596"/>
                  <a:pt x="6514" y="324"/>
                </a:cubicBezTo>
                <a:cubicBezTo>
                  <a:pt x="6479" y="324"/>
                  <a:pt x="6479" y="324"/>
                  <a:pt x="6479" y="324"/>
                </a:cubicBezTo>
                <a:cubicBezTo>
                  <a:pt x="6479" y="324"/>
                  <a:pt x="6552" y="250"/>
                  <a:pt x="6590" y="135"/>
                </a:cubicBezTo>
                <a:cubicBezTo>
                  <a:pt x="6628" y="20"/>
                  <a:pt x="6640" y="7"/>
                  <a:pt x="6556" y="3"/>
                </a:cubicBezTo>
                <a:cubicBezTo>
                  <a:pt x="6473" y="0"/>
                  <a:pt x="880" y="2"/>
                  <a:pt x="345" y="2"/>
                </a:cubicBezTo>
                <a:close/>
              </a:path>
            </a:pathLst>
          </a:custGeom>
          <a:gradFill>
            <a:gsLst>
              <a:gs pos="0">
                <a:srgbClr val="24475A"/>
              </a:gs>
              <a:gs pos="97000">
                <a:srgbClr val="EF7D4F"/>
              </a:gs>
              <a:gs pos="43000">
                <a:srgbClr val="366C89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6501572" y="569278"/>
            <a:ext cx="4771608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ct val="100000"/>
              </a:lnSpc>
            </a:pPr>
            <a:r>
              <a:rPr lang="pt-BR" sz="1800">
                <a:solidFill>
                  <a:schemeClr val="bg1"/>
                </a:solidFill>
                <a:latin typeface="Century Gothic" panose="020B0502020202020204" pitchFamily="34" charset="0"/>
              </a:rPr>
              <a:t>Transmitido pela picada de mosquitos fêmeas </a:t>
            </a:r>
            <a:r>
              <a:rPr lang="pt-BR" sz="1800" i="1">
                <a:solidFill>
                  <a:schemeClr val="bg1"/>
                </a:solidFill>
                <a:latin typeface="Century Gothic" panose="020B0502020202020204" pitchFamily="34" charset="0"/>
              </a:rPr>
              <a:t>Aedes</a:t>
            </a:r>
            <a:endParaRPr lang="pt-BR" sz="180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17" name="Group 16"/>
          <p:cNvGrpSpPr/>
          <p:nvPr/>
        </p:nvGrpSpPr>
        <p:grpSpPr>
          <a:xfrm rot="1731039">
            <a:off x="1480918" y="5317993"/>
            <a:ext cx="76199" cy="826854"/>
            <a:chOff x="5289552" y="800100"/>
            <a:chExt cx="76199" cy="5257801"/>
          </a:xfrm>
        </p:grpSpPr>
        <p:cxnSp>
          <p:nvCxnSpPr>
            <p:cNvPr id="18" name="Straight Connector 17"/>
            <p:cNvCxnSpPr/>
            <p:nvPr/>
          </p:nvCxnSpPr>
          <p:spPr>
            <a:xfrm>
              <a:off x="5289552" y="800101"/>
              <a:ext cx="0" cy="525780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65751" y="800100"/>
              <a:ext cx="0" cy="525780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4" name="Espaço Reservado para Imagem 53">
            <a:extLst>
              <a:ext uri="{FF2B5EF4-FFF2-40B4-BE49-F238E27FC236}">
                <a16:creationId xmlns="" xmlns:a16="http://schemas.microsoft.com/office/drawing/2014/main" id="{DAE48427-48B0-7747-8E13-657F1CFB56B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96442" y="1734327"/>
            <a:ext cx="3770153" cy="4560613"/>
          </a:xfrm>
        </p:spPr>
      </p:pic>
      <p:sp>
        <p:nvSpPr>
          <p:cNvPr id="25" name="Freeform 19">
            <a:extLst>
              <a:ext uri="{FF2B5EF4-FFF2-40B4-BE49-F238E27FC236}">
                <a16:creationId xmlns="" xmlns:a16="http://schemas.microsoft.com/office/drawing/2014/main" id="{33ABA655-60D1-164E-898E-03D8702BFC98}"/>
              </a:ext>
            </a:extLst>
          </p:cNvPr>
          <p:cNvSpPr>
            <a:spLocks/>
          </p:cNvSpPr>
          <p:nvPr/>
        </p:nvSpPr>
        <p:spPr bwMode="auto">
          <a:xfrm>
            <a:off x="5874301" y="1460456"/>
            <a:ext cx="6026150" cy="946149"/>
          </a:xfrm>
          <a:custGeom>
            <a:avLst/>
            <a:gdLst>
              <a:gd name="T0" fmla="*/ 345 w 6640"/>
              <a:gd name="T1" fmla="*/ 2 h 1539"/>
              <a:gd name="T2" fmla="*/ 364 w 6640"/>
              <a:gd name="T3" fmla="*/ 106 h 1539"/>
              <a:gd name="T4" fmla="*/ 144 w 6640"/>
              <a:gd name="T5" fmla="*/ 295 h 1539"/>
              <a:gd name="T6" fmla="*/ 60 w 6640"/>
              <a:gd name="T7" fmla="*/ 650 h 1539"/>
              <a:gd name="T8" fmla="*/ 34 w 6640"/>
              <a:gd name="T9" fmla="*/ 818 h 1539"/>
              <a:gd name="T10" fmla="*/ 138 w 6640"/>
              <a:gd name="T11" fmla="*/ 979 h 1539"/>
              <a:gd name="T12" fmla="*/ 187 w 6640"/>
              <a:gd name="T13" fmla="*/ 1018 h 1539"/>
              <a:gd name="T14" fmla="*/ 118 w 6640"/>
              <a:gd name="T15" fmla="*/ 1121 h 1539"/>
              <a:gd name="T16" fmla="*/ 162 w 6640"/>
              <a:gd name="T17" fmla="*/ 1119 h 1539"/>
              <a:gd name="T18" fmla="*/ 198 w 6640"/>
              <a:gd name="T19" fmla="*/ 1163 h 1539"/>
              <a:gd name="T20" fmla="*/ 263 w 6640"/>
              <a:gd name="T21" fmla="*/ 1267 h 1539"/>
              <a:gd name="T22" fmla="*/ 226 w 6640"/>
              <a:gd name="T23" fmla="*/ 1384 h 1539"/>
              <a:gd name="T24" fmla="*/ 5667 w 6640"/>
              <a:gd name="T25" fmla="*/ 1503 h 1539"/>
              <a:gd name="T26" fmla="*/ 6157 w 6640"/>
              <a:gd name="T27" fmla="*/ 1407 h 1539"/>
              <a:gd name="T28" fmla="*/ 6299 w 6640"/>
              <a:gd name="T29" fmla="*/ 1120 h 1539"/>
              <a:gd name="T30" fmla="*/ 6429 w 6640"/>
              <a:gd name="T31" fmla="*/ 931 h 1539"/>
              <a:gd name="T32" fmla="*/ 6521 w 6640"/>
              <a:gd name="T33" fmla="*/ 701 h 1539"/>
              <a:gd name="T34" fmla="*/ 6313 w 6640"/>
              <a:gd name="T35" fmla="*/ 700 h 1539"/>
              <a:gd name="T36" fmla="*/ 6514 w 6640"/>
              <a:gd name="T37" fmla="*/ 324 h 1539"/>
              <a:gd name="T38" fmla="*/ 6479 w 6640"/>
              <a:gd name="T39" fmla="*/ 324 h 1539"/>
              <a:gd name="T40" fmla="*/ 6590 w 6640"/>
              <a:gd name="T41" fmla="*/ 135 h 1539"/>
              <a:gd name="T42" fmla="*/ 6556 w 6640"/>
              <a:gd name="T43" fmla="*/ 3 h 1539"/>
              <a:gd name="T44" fmla="*/ 345 w 6640"/>
              <a:gd name="T45" fmla="*/ 2 h 1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640" h="1539">
                <a:moveTo>
                  <a:pt x="345" y="2"/>
                </a:moveTo>
                <a:cubicBezTo>
                  <a:pt x="327" y="2"/>
                  <a:pt x="378" y="70"/>
                  <a:pt x="364" y="106"/>
                </a:cubicBezTo>
                <a:cubicBezTo>
                  <a:pt x="350" y="142"/>
                  <a:pt x="190" y="205"/>
                  <a:pt x="144" y="295"/>
                </a:cubicBezTo>
                <a:cubicBezTo>
                  <a:pt x="98" y="385"/>
                  <a:pt x="95" y="569"/>
                  <a:pt x="60" y="650"/>
                </a:cubicBezTo>
                <a:cubicBezTo>
                  <a:pt x="25" y="731"/>
                  <a:pt x="0" y="766"/>
                  <a:pt x="34" y="818"/>
                </a:cubicBezTo>
                <a:cubicBezTo>
                  <a:pt x="68" y="871"/>
                  <a:pt x="114" y="977"/>
                  <a:pt x="138" y="979"/>
                </a:cubicBezTo>
                <a:cubicBezTo>
                  <a:pt x="161" y="980"/>
                  <a:pt x="209" y="976"/>
                  <a:pt x="187" y="1018"/>
                </a:cubicBezTo>
                <a:cubicBezTo>
                  <a:pt x="165" y="1060"/>
                  <a:pt x="172" y="1086"/>
                  <a:pt x="118" y="1121"/>
                </a:cubicBezTo>
                <a:cubicBezTo>
                  <a:pt x="118" y="1121"/>
                  <a:pt x="107" y="1134"/>
                  <a:pt x="162" y="1119"/>
                </a:cubicBezTo>
                <a:cubicBezTo>
                  <a:pt x="162" y="1119"/>
                  <a:pt x="176" y="1115"/>
                  <a:pt x="198" y="1163"/>
                </a:cubicBezTo>
                <a:cubicBezTo>
                  <a:pt x="220" y="1211"/>
                  <a:pt x="242" y="1267"/>
                  <a:pt x="263" y="1267"/>
                </a:cubicBezTo>
                <a:cubicBezTo>
                  <a:pt x="285" y="1267"/>
                  <a:pt x="253" y="1354"/>
                  <a:pt x="226" y="1384"/>
                </a:cubicBezTo>
                <a:cubicBezTo>
                  <a:pt x="87" y="1539"/>
                  <a:pt x="5493" y="1535"/>
                  <a:pt x="5667" y="1503"/>
                </a:cubicBezTo>
                <a:cubicBezTo>
                  <a:pt x="5841" y="1472"/>
                  <a:pt x="6061" y="1489"/>
                  <a:pt x="6157" y="1407"/>
                </a:cubicBezTo>
                <a:cubicBezTo>
                  <a:pt x="6254" y="1325"/>
                  <a:pt x="6286" y="1266"/>
                  <a:pt x="6299" y="1120"/>
                </a:cubicBezTo>
                <a:cubicBezTo>
                  <a:pt x="6313" y="975"/>
                  <a:pt x="6373" y="980"/>
                  <a:pt x="6429" y="931"/>
                </a:cubicBezTo>
                <a:cubicBezTo>
                  <a:pt x="6485" y="881"/>
                  <a:pt x="6501" y="757"/>
                  <a:pt x="6521" y="701"/>
                </a:cubicBezTo>
                <a:cubicBezTo>
                  <a:pt x="6521" y="701"/>
                  <a:pt x="6289" y="748"/>
                  <a:pt x="6313" y="700"/>
                </a:cubicBezTo>
                <a:cubicBezTo>
                  <a:pt x="6337" y="652"/>
                  <a:pt x="6492" y="596"/>
                  <a:pt x="6514" y="324"/>
                </a:cubicBezTo>
                <a:cubicBezTo>
                  <a:pt x="6479" y="324"/>
                  <a:pt x="6479" y="324"/>
                  <a:pt x="6479" y="324"/>
                </a:cubicBezTo>
                <a:cubicBezTo>
                  <a:pt x="6479" y="324"/>
                  <a:pt x="6552" y="250"/>
                  <a:pt x="6590" y="135"/>
                </a:cubicBezTo>
                <a:cubicBezTo>
                  <a:pt x="6628" y="20"/>
                  <a:pt x="6640" y="7"/>
                  <a:pt x="6556" y="3"/>
                </a:cubicBezTo>
                <a:cubicBezTo>
                  <a:pt x="6473" y="0"/>
                  <a:pt x="880" y="2"/>
                  <a:pt x="345" y="2"/>
                </a:cubicBezTo>
                <a:close/>
              </a:path>
            </a:pathLst>
          </a:custGeom>
          <a:gradFill>
            <a:gsLst>
              <a:gs pos="0">
                <a:srgbClr val="24475A"/>
              </a:gs>
              <a:gs pos="97000">
                <a:srgbClr val="EF7D4F"/>
              </a:gs>
              <a:gs pos="43000">
                <a:srgbClr val="366C89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26" name="Title 1">
            <a:extLst>
              <a:ext uri="{FF2B5EF4-FFF2-40B4-BE49-F238E27FC236}">
                <a16:creationId xmlns="" xmlns:a16="http://schemas.microsoft.com/office/drawing/2014/main" id="{1A4A363A-D28C-0242-893C-1856A63C6411}"/>
              </a:ext>
            </a:extLst>
          </p:cNvPr>
          <p:cNvSpPr txBox="1">
            <a:spLocks/>
          </p:cNvSpPr>
          <p:nvPr/>
        </p:nvSpPr>
        <p:spPr>
          <a:xfrm>
            <a:off x="6302788" y="1639501"/>
            <a:ext cx="5107606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ct val="100000"/>
              </a:lnSpc>
            </a:pPr>
            <a:r>
              <a:rPr lang="pt-BR" sz="1800">
                <a:solidFill>
                  <a:schemeClr val="bg1"/>
                </a:solidFill>
                <a:latin typeface="Century Gothic" panose="020B0502020202020204" pitchFamily="34" charset="0"/>
              </a:rPr>
              <a:t>Entre 2015-17 foram registrados cerca de </a:t>
            </a:r>
          </a:p>
          <a:p>
            <a:pPr algn="just">
              <a:lnSpc>
                <a:spcPct val="100000"/>
              </a:lnSpc>
            </a:pPr>
            <a:r>
              <a:rPr lang="pt-BR" sz="1800" b="1">
                <a:solidFill>
                  <a:schemeClr val="bg1"/>
                </a:solidFill>
                <a:latin typeface="Century Gothic" panose="020B0502020202020204" pitchFamily="34" charset="0"/>
              </a:rPr>
              <a:t>270 mil casos </a:t>
            </a:r>
            <a:r>
              <a:rPr lang="pt-BR" sz="1800">
                <a:solidFill>
                  <a:schemeClr val="bg1"/>
                </a:solidFill>
                <a:latin typeface="Century Gothic" panose="020B0502020202020204" pitchFamily="34" charset="0"/>
              </a:rPr>
              <a:t>prováveis da doença no Brasil*</a:t>
            </a:r>
          </a:p>
        </p:txBody>
      </p:sp>
      <p:pic>
        <p:nvPicPr>
          <p:cNvPr id="24" name="Imagem 23">
            <a:extLst>
              <a:ext uri="{FF2B5EF4-FFF2-40B4-BE49-F238E27FC236}">
                <a16:creationId xmlns="" xmlns:a16="http://schemas.microsoft.com/office/drawing/2014/main" id="{BD0C4074-2DF7-E848-A777-54EF37625EF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8144" y="808374"/>
            <a:ext cx="2289521" cy="1367764"/>
          </a:xfrm>
          <a:prstGeom prst="rect">
            <a:avLst/>
          </a:prstGeom>
        </p:spPr>
      </p:pic>
      <p:grpSp>
        <p:nvGrpSpPr>
          <p:cNvPr id="31" name="Agrupar 30">
            <a:extLst>
              <a:ext uri="{FF2B5EF4-FFF2-40B4-BE49-F238E27FC236}">
                <a16:creationId xmlns="" xmlns:a16="http://schemas.microsoft.com/office/drawing/2014/main" id="{6948144B-6EB0-9A47-A7E7-55345C903454}"/>
              </a:ext>
            </a:extLst>
          </p:cNvPr>
          <p:cNvGrpSpPr/>
          <p:nvPr/>
        </p:nvGrpSpPr>
        <p:grpSpPr>
          <a:xfrm>
            <a:off x="5010612" y="2438467"/>
            <a:ext cx="7113784" cy="4419533"/>
            <a:chOff x="5253318" y="2438467"/>
            <a:chExt cx="6727645" cy="4179639"/>
          </a:xfrm>
        </p:grpSpPr>
        <p:pic>
          <p:nvPicPr>
            <p:cNvPr id="22" name="Imagem 21">
              <a:extLst>
                <a:ext uri="{FF2B5EF4-FFF2-40B4-BE49-F238E27FC236}">
                  <a16:creationId xmlns="" xmlns:a16="http://schemas.microsoft.com/office/drawing/2014/main" id="{83254127-936D-EE44-A24C-AFCECA7A93B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60263" y="2438467"/>
              <a:ext cx="4159496" cy="4179639"/>
            </a:xfrm>
            <a:prstGeom prst="rect">
              <a:avLst/>
            </a:prstGeom>
          </p:spPr>
        </p:pic>
        <p:pic>
          <p:nvPicPr>
            <p:cNvPr id="27" name="Imagem 26">
              <a:extLst>
                <a:ext uri="{FF2B5EF4-FFF2-40B4-BE49-F238E27FC236}">
                  <a16:creationId xmlns="" xmlns:a16="http://schemas.microsoft.com/office/drawing/2014/main" id="{587DD6A7-597A-B140-99F2-05A84FFA094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146819" y="5120858"/>
              <a:ext cx="2834144" cy="1256041"/>
            </a:xfrm>
            <a:prstGeom prst="rect">
              <a:avLst/>
            </a:prstGeom>
          </p:spPr>
        </p:pic>
        <p:sp>
          <p:nvSpPr>
            <p:cNvPr id="30" name="Retângulo 29">
              <a:extLst>
                <a:ext uri="{FF2B5EF4-FFF2-40B4-BE49-F238E27FC236}">
                  <a16:creationId xmlns="" xmlns:a16="http://schemas.microsoft.com/office/drawing/2014/main" id="{8BBD8DC1-165F-8D4E-A107-6139F8482099}"/>
                </a:ext>
              </a:extLst>
            </p:cNvPr>
            <p:cNvSpPr/>
            <p:nvPr/>
          </p:nvSpPr>
          <p:spPr>
            <a:xfrm>
              <a:off x="5253318" y="5713036"/>
              <a:ext cx="1049470" cy="554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21" name="CaixaDeTexto 20">
            <a:extLst>
              <a:ext uri="{FF2B5EF4-FFF2-40B4-BE49-F238E27FC236}">
                <a16:creationId xmlns="" xmlns:a16="http://schemas.microsoft.com/office/drawing/2014/main" id="{CA337A19-9F4F-0040-859C-C141BF1AF56E}"/>
              </a:ext>
            </a:extLst>
          </p:cNvPr>
          <p:cNvSpPr txBox="1"/>
          <p:nvPr/>
        </p:nvSpPr>
        <p:spPr>
          <a:xfrm>
            <a:off x="107671" y="6267174"/>
            <a:ext cx="61951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onte: Boletim </a:t>
            </a:r>
            <a:r>
              <a:rPr lang="pt-BR" dirty="0" err="1"/>
              <a:t>Epidemilógico</a:t>
            </a:r>
            <a:r>
              <a:rPr lang="pt-BR" dirty="0"/>
              <a:t> vol. 49 n</a:t>
            </a:r>
            <a:r>
              <a:rPr lang="pt-BR" baseline="30000" dirty="0"/>
              <a:t>o</a:t>
            </a:r>
            <a:r>
              <a:rPr lang="pt-BR" dirty="0"/>
              <a:t> 47, 11/2018, Secretaria de Vigilância em Saúde, Ministério da Saúde.</a:t>
            </a:r>
          </a:p>
        </p:txBody>
      </p:sp>
    </p:spTree>
    <p:extLst>
      <p:ext uri="{BB962C8B-B14F-4D97-AF65-F5344CB8AC3E}">
        <p14:creationId xmlns:p14="http://schemas.microsoft.com/office/powerpoint/2010/main" val="25109721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m 23">
            <a:extLst>
              <a:ext uri="{FF2B5EF4-FFF2-40B4-BE49-F238E27FC236}">
                <a16:creationId xmlns="" xmlns:a16="http://schemas.microsoft.com/office/drawing/2014/main" id="{C86334FD-8918-9B42-9FF2-9430AC54849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7204" y="4064932"/>
            <a:ext cx="1154172" cy="772013"/>
          </a:xfrm>
          <a:prstGeom prst="rect">
            <a:avLst/>
          </a:prstGeom>
        </p:spPr>
      </p:pic>
      <p:pic>
        <p:nvPicPr>
          <p:cNvPr id="23" name="Espaço Reservado para Imagem 22">
            <a:extLst>
              <a:ext uri="{FF2B5EF4-FFF2-40B4-BE49-F238E27FC236}">
                <a16:creationId xmlns="" xmlns:a16="http://schemas.microsoft.com/office/drawing/2014/main" id="{306D9DEC-3E4E-FD47-911E-B5E1946D720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8546" t="-3166" r="-61551" b="-10165"/>
          <a:stretch/>
        </p:blipFill>
        <p:spPr>
          <a:xfrm>
            <a:off x="344556" y="419296"/>
            <a:ext cx="6376889" cy="6281430"/>
          </a:xfrm>
          <a:solidFill>
            <a:schemeClr val="accent1"/>
          </a:solidFill>
        </p:spPr>
      </p:pic>
      <p:sp>
        <p:nvSpPr>
          <p:cNvPr id="36" name="Title 1"/>
          <p:cNvSpPr txBox="1">
            <a:spLocks/>
          </p:cNvSpPr>
          <p:nvPr/>
        </p:nvSpPr>
        <p:spPr>
          <a:xfrm>
            <a:off x="6085903" y="418212"/>
            <a:ext cx="5789069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err="1">
                <a:gradFill>
                  <a:gsLst>
                    <a:gs pos="0">
                      <a:srgbClr val="285066"/>
                    </a:gs>
                    <a:gs pos="45000">
                      <a:srgbClr val="366C89"/>
                    </a:gs>
                    <a:gs pos="100000">
                      <a:srgbClr val="EF7D4F"/>
                    </a:gs>
                  </a:gsLst>
                  <a:lin ang="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Infecção</a:t>
            </a:r>
            <a:r>
              <a:rPr lang="en-US" sz="3600" b="1" dirty="0">
                <a:gradFill>
                  <a:gsLst>
                    <a:gs pos="0">
                      <a:srgbClr val="285066"/>
                    </a:gs>
                    <a:gs pos="45000">
                      <a:srgbClr val="366C89"/>
                    </a:gs>
                    <a:gs pos="100000">
                      <a:srgbClr val="EF7D4F"/>
                    </a:gs>
                  </a:gsLst>
                  <a:lin ang="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3600" b="1" dirty="0" err="1">
                <a:gradFill>
                  <a:gsLst>
                    <a:gs pos="0">
                      <a:srgbClr val="285066"/>
                    </a:gs>
                    <a:gs pos="45000">
                      <a:srgbClr val="366C89"/>
                    </a:gs>
                    <a:gs pos="100000">
                      <a:srgbClr val="EF7D4F"/>
                    </a:gs>
                  </a:gsLst>
                  <a:lin ang="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elo</a:t>
            </a:r>
            <a:r>
              <a:rPr lang="en-US" sz="3600" b="1" dirty="0">
                <a:gradFill>
                  <a:gsLst>
                    <a:gs pos="0">
                      <a:srgbClr val="285066"/>
                    </a:gs>
                    <a:gs pos="45000">
                      <a:srgbClr val="366C89"/>
                    </a:gs>
                    <a:gs pos="100000">
                      <a:srgbClr val="EF7D4F"/>
                    </a:gs>
                  </a:gsLst>
                  <a:lin ang="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 ZIKV </a:t>
            </a:r>
            <a:r>
              <a:rPr lang="en-US" sz="3600" b="1" dirty="0" err="1">
                <a:gradFill>
                  <a:gsLst>
                    <a:gs pos="0">
                      <a:srgbClr val="285066"/>
                    </a:gs>
                    <a:gs pos="45000">
                      <a:srgbClr val="366C89"/>
                    </a:gs>
                    <a:gs pos="100000">
                      <a:srgbClr val="EF7D4F"/>
                    </a:gs>
                  </a:gsLst>
                  <a:lin ang="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em</a:t>
            </a:r>
            <a:r>
              <a:rPr lang="en-US" sz="3600" b="1" dirty="0">
                <a:gradFill>
                  <a:gsLst>
                    <a:gs pos="0">
                      <a:srgbClr val="285066"/>
                    </a:gs>
                    <a:gs pos="45000">
                      <a:srgbClr val="366C89"/>
                    </a:gs>
                    <a:gs pos="100000">
                      <a:srgbClr val="EF7D4F"/>
                    </a:gs>
                  </a:gsLst>
                  <a:lin ang="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3600" b="1" dirty="0" err="1">
                <a:gradFill>
                  <a:gsLst>
                    <a:gs pos="0">
                      <a:srgbClr val="285066"/>
                    </a:gs>
                    <a:gs pos="45000">
                      <a:srgbClr val="366C89"/>
                    </a:gs>
                    <a:gs pos="100000">
                      <a:srgbClr val="EF7D4F"/>
                    </a:gs>
                  </a:gsLst>
                  <a:lin ang="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dultos</a:t>
            </a:r>
            <a:endParaRPr lang="en-US" sz="3600" b="1" dirty="0">
              <a:gradFill>
                <a:gsLst>
                  <a:gs pos="0">
                    <a:srgbClr val="285066"/>
                  </a:gs>
                  <a:gs pos="45000">
                    <a:srgbClr val="366C89"/>
                  </a:gs>
                  <a:gs pos="100000">
                    <a:srgbClr val="EF7D4F"/>
                  </a:gs>
                </a:gsLst>
                <a:lin ang="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Title 1"/>
          <p:cNvSpPr txBox="1">
            <a:spLocks/>
          </p:cNvSpPr>
          <p:nvPr/>
        </p:nvSpPr>
        <p:spPr>
          <a:xfrm>
            <a:off x="7089605" y="1628351"/>
            <a:ext cx="4421199" cy="9233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000" b="1" dirty="0">
                <a:latin typeface="Century Gothic" panose="020B0502020202020204" pitchFamily="34" charset="0"/>
              </a:rPr>
              <a:t>Uma </a:t>
            </a:r>
            <a:r>
              <a:rPr lang="en-US" sz="3000" b="1" dirty="0" err="1">
                <a:latin typeface="Century Gothic" panose="020B0502020202020204" pitchFamily="34" charset="0"/>
              </a:rPr>
              <a:t>doença</a:t>
            </a:r>
            <a:r>
              <a:rPr lang="en-US" sz="3000" b="1" dirty="0">
                <a:latin typeface="Century Gothic" panose="020B0502020202020204" pitchFamily="34" charset="0"/>
              </a:rPr>
              <a:t> </a:t>
            </a:r>
          </a:p>
          <a:p>
            <a:pPr algn="ctr">
              <a:lnSpc>
                <a:spcPct val="100000"/>
              </a:lnSpc>
            </a:pPr>
            <a:r>
              <a:rPr lang="en-US" sz="3000" b="1" dirty="0" err="1">
                <a:latin typeface="Century Gothic" panose="020B0502020202020204" pitchFamily="34" charset="0"/>
              </a:rPr>
              <a:t>leve</a:t>
            </a:r>
            <a:r>
              <a:rPr lang="en-US" sz="3000" b="1" dirty="0">
                <a:latin typeface="Century Gothic" panose="020B0502020202020204" pitchFamily="34" charset="0"/>
              </a:rPr>
              <a:t>?</a:t>
            </a:r>
          </a:p>
        </p:txBody>
      </p:sp>
      <p:cxnSp>
        <p:nvCxnSpPr>
          <p:cNvPr id="38" name="Straight Connector 37"/>
          <p:cNvCxnSpPr/>
          <p:nvPr/>
        </p:nvCxnSpPr>
        <p:spPr>
          <a:xfrm>
            <a:off x="7157518" y="986366"/>
            <a:ext cx="4184274" cy="0"/>
          </a:xfrm>
          <a:prstGeom prst="line">
            <a:avLst/>
          </a:prstGeom>
          <a:ln w="12700" cap="rnd">
            <a:gradFill flip="none" rotWithShape="1">
              <a:gsLst>
                <a:gs pos="0">
                  <a:srgbClr val="285066"/>
                </a:gs>
                <a:gs pos="45000">
                  <a:srgbClr val="366C89"/>
                </a:gs>
                <a:gs pos="100000">
                  <a:srgbClr val="EF7D4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itle 1"/>
          <p:cNvSpPr txBox="1">
            <a:spLocks/>
          </p:cNvSpPr>
          <p:nvPr/>
        </p:nvSpPr>
        <p:spPr>
          <a:xfrm>
            <a:off x="7948876" y="3524019"/>
            <a:ext cx="3926097" cy="36285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800" dirty="0" err="1">
                <a:latin typeface="Century Gothic" panose="020B0502020202020204" pitchFamily="34" charset="0"/>
              </a:rPr>
              <a:t>Dor</a:t>
            </a:r>
            <a:r>
              <a:rPr lang="en-US" sz="1800" dirty="0">
                <a:latin typeface="Century Gothic" panose="020B0502020202020204" pitchFamily="34" charset="0"/>
              </a:rPr>
              <a:t> </a:t>
            </a:r>
            <a:r>
              <a:rPr lang="en-US" sz="1800" dirty="0" err="1">
                <a:latin typeface="Century Gothic" panose="020B0502020202020204" pitchFamily="34" charset="0"/>
              </a:rPr>
              <a:t>na</a:t>
            </a:r>
            <a:r>
              <a:rPr lang="en-US" sz="1800" dirty="0">
                <a:latin typeface="Century Gothic" panose="020B0502020202020204" pitchFamily="34" charset="0"/>
              </a:rPr>
              <a:t> </a:t>
            </a:r>
            <a:r>
              <a:rPr lang="en-US" sz="1800" dirty="0" err="1">
                <a:latin typeface="Century Gothic" panose="020B0502020202020204" pitchFamily="34" charset="0"/>
              </a:rPr>
              <a:t>cabeça</a:t>
            </a:r>
            <a:endParaRPr lang="en-US" sz="1800" dirty="0">
              <a:latin typeface="Century Gothic" panose="020B0502020202020204" pitchFamily="34" charset="0"/>
            </a:endParaRPr>
          </a:p>
        </p:txBody>
      </p:sp>
      <p:sp>
        <p:nvSpPr>
          <p:cNvPr id="15" name="Donut 14"/>
          <p:cNvSpPr/>
          <p:nvPr/>
        </p:nvSpPr>
        <p:spPr>
          <a:xfrm>
            <a:off x="2984578" y="3263222"/>
            <a:ext cx="541020" cy="541020"/>
          </a:xfrm>
          <a:prstGeom prst="donut">
            <a:avLst>
              <a:gd name="adj" fmla="val 4753"/>
            </a:avLst>
          </a:prstGeom>
          <a:gradFill>
            <a:gsLst>
              <a:gs pos="0">
                <a:srgbClr val="285066"/>
              </a:gs>
              <a:gs pos="45000">
                <a:srgbClr val="366C89"/>
              </a:gs>
              <a:gs pos="100000">
                <a:srgbClr val="EF7D4F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0" name="Donut 79"/>
          <p:cNvSpPr/>
          <p:nvPr/>
        </p:nvSpPr>
        <p:spPr>
          <a:xfrm>
            <a:off x="3233309" y="590068"/>
            <a:ext cx="541020" cy="541020"/>
          </a:xfrm>
          <a:prstGeom prst="donut">
            <a:avLst>
              <a:gd name="adj" fmla="val 4753"/>
            </a:avLst>
          </a:prstGeom>
          <a:gradFill>
            <a:gsLst>
              <a:gs pos="0">
                <a:srgbClr val="285066"/>
              </a:gs>
              <a:gs pos="45000">
                <a:srgbClr val="366C89"/>
              </a:gs>
              <a:gs pos="100000">
                <a:srgbClr val="EF7D4F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22" name="Elbow Connector 21"/>
          <p:cNvCxnSpPr>
            <a:cxnSpLocks/>
          </p:cNvCxnSpPr>
          <p:nvPr/>
        </p:nvCxnSpPr>
        <p:spPr>
          <a:xfrm>
            <a:off x="3455694" y="3683655"/>
            <a:ext cx="3631766" cy="1592161"/>
          </a:xfrm>
          <a:prstGeom prst="bentConnector3">
            <a:avLst>
              <a:gd name="adj1" fmla="val 39449"/>
            </a:avLst>
          </a:prstGeom>
          <a:ln>
            <a:solidFill>
              <a:schemeClr val="accent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Donut 80"/>
          <p:cNvSpPr/>
          <p:nvPr/>
        </p:nvSpPr>
        <p:spPr>
          <a:xfrm>
            <a:off x="2899320" y="4340892"/>
            <a:ext cx="541020" cy="541020"/>
          </a:xfrm>
          <a:prstGeom prst="donut">
            <a:avLst>
              <a:gd name="adj" fmla="val 4753"/>
            </a:avLst>
          </a:prstGeom>
          <a:gradFill>
            <a:gsLst>
              <a:gs pos="0">
                <a:srgbClr val="285066"/>
              </a:gs>
              <a:gs pos="45000">
                <a:srgbClr val="366C89"/>
              </a:gs>
              <a:gs pos="100000">
                <a:srgbClr val="EF7D4F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17" name="Elbow Connector 16"/>
          <p:cNvCxnSpPr>
            <a:cxnSpLocks/>
            <a:stCxn id="80" idx="6"/>
          </p:cNvCxnSpPr>
          <p:nvPr/>
        </p:nvCxnSpPr>
        <p:spPr>
          <a:xfrm>
            <a:off x="3774329" y="860578"/>
            <a:ext cx="3103348" cy="2849374"/>
          </a:xfrm>
          <a:prstGeom prst="bentConnector3">
            <a:avLst/>
          </a:prstGeom>
          <a:ln>
            <a:solidFill>
              <a:schemeClr val="accent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19"/>
          <p:cNvCxnSpPr>
            <a:cxnSpLocks/>
          </p:cNvCxnSpPr>
          <p:nvPr/>
        </p:nvCxnSpPr>
        <p:spPr>
          <a:xfrm>
            <a:off x="3514942" y="1112185"/>
            <a:ext cx="3374972" cy="3303842"/>
          </a:xfrm>
          <a:prstGeom prst="bentConnector3">
            <a:avLst>
              <a:gd name="adj1" fmla="val 50000"/>
            </a:avLst>
          </a:prstGeom>
          <a:ln>
            <a:solidFill>
              <a:schemeClr val="accent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Elbow Connector 81"/>
          <p:cNvCxnSpPr>
            <a:cxnSpLocks/>
            <a:stCxn id="81" idx="6"/>
          </p:cNvCxnSpPr>
          <p:nvPr/>
        </p:nvCxnSpPr>
        <p:spPr>
          <a:xfrm>
            <a:off x="3440340" y="4611402"/>
            <a:ext cx="2560025" cy="1571489"/>
          </a:xfrm>
          <a:prstGeom prst="bentConnector3">
            <a:avLst/>
          </a:prstGeom>
          <a:ln>
            <a:solidFill>
              <a:schemeClr val="accent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Imagem 24">
            <a:extLst>
              <a:ext uri="{FF2B5EF4-FFF2-40B4-BE49-F238E27FC236}">
                <a16:creationId xmlns="" xmlns:a16="http://schemas.microsoft.com/office/drawing/2014/main" id="{7B487012-FFFA-8C42-9BC9-AE55E51DA04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64516" y="3263222"/>
            <a:ext cx="840866" cy="840866"/>
          </a:xfrm>
          <a:prstGeom prst="rect">
            <a:avLst/>
          </a:prstGeom>
        </p:spPr>
      </p:pic>
      <p:sp>
        <p:nvSpPr>
          <p:cNvPr id="63" name="Title 1">
            <a:extLst>
              <a:ext uri="{FF2B5EF4-FFF2-40B4-BE49-F238E27FC236}">
                <a16:creationId xmlns="" xmlns:a16="http://schemas.microsoft.com/office/drawing/2014/main" id="{D4D3244B-5A5F-C740-A353-FE7B4862B135}"/>
              </a:ext>
            </a:extLst>
          </p:cNvPr>
          <p:cNvSpPr txBox="1">
            <a:spLocks/>
          </p:cNvSpPr>
          <p:nvPr/>
        </p:nvSpPr>
        <p:spPr>
          <a:xfrm>
            <a:off x="7948875" y="4269510"/>
            <a:ext cx="3926097" cy="36285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800" dirty="0" err="1">
                <a:latin typeface="Century Gothic" panose="020B0502020202020204" pitchFamily="34" charset="0"/>
              </a:rPr>
              <a:t>Olhos</a:t>
            </a:r>
            <a:r>
              <a:rPr lang="en-US" sz="1800" dirty="0">
                <a:latin typeface="Century Gothic" panose="020B0502020202020204" pitchFamily="34" charset="0"/>
              </a:rPr>
              <a:t> </a:t>
            </a:r>
            <a:r>
              <a:rPr lang="en-US" sz="1800" dirty="0" err="1">
                <a:latin typeface="Century Gothic" panose="020B0502020202020204" pitchFamily="34" charset="0"/>
              </a:rPr>
              <a:t>vermelhos</a:t>
            </a:r>
            <a:endParaRPr lang="en-US" sz="1800" dirty="0">
              <a:latin typeface="Century Gothic" panose="020B0502020202020204" pitchFamily="34" charset="0"/>
            </a:endParaRPr>
          </a:p>
        </p:txBody>
      </p:sp>
      <p:pic>
        <p:nvPicPr>
          <p:cNvPr id="74" name="Imagem 73">
            <a:extLst>
              <a:ext uri="{FF2B5EF4-FFF2-40B4-BE49-F238E27FC236}">
                <a16:creationId xmlns="" xmlns:a16="http://schemas.microsoft.com/office/drawing/2014/main" id="{11E3CF0E-95D6-5E40-9127-BE19DB08287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9693" y="4931387"/>
            <a:ext cx="918478" cy="688859"/>
          </a:xfrm>
          <a:prstGeom prst="ellipse">
            <a:avLst/>
          </a:prstGeom>
        </p:spPr>
      </p:pic>
      <p:sp>
        <p:nvSpPr>
          <p:cNvPr id="86" name="Title 1">
            <a:extLst>
              <a:ext uri="{FF2B5EF4-FFF2-40B4-BE49-F238E27FC236}">
                <a16:creationId xmlns="" xmlns:a16="http://schemas.microsoft.com/office/drawing/2014/main" id="{49485604-3266-F943-9AD8-251FD38386BC}"/>
              </a:ext>
            </a:extLst>
          </p:cNvPr>
          <p:cNvSpPr txBox="1">
            <a:spLocks/>
          </p:cNvSpPr>
          <p:nvPr/>
        </p:nvSpPr>
        <p:spPr>
          <a:xfrm>
            <a:off x="8265903" y="5069336"/>
            <a:ext cx="3926097" cy="36285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800" dirty="0" err="1">
                <a:latin typeface="Century Gothic" panose="020B0502020202020204" pitchFamily="34" charset="0"/>
              </a:rPr>
              <a:t>Manchas</a:t>
            </a:r>
            <a:r>
              <a:rPr lang="en-US" sz="1800" dirty="0">
                <a:latin typeface="Century Gothic" panose="020B0502020202020204" pitchFamily="34" charset="0"/>
              </a:rPr>
              <a:t> </a:t>
            </a:r>
            <a:r>
              <a:rPr lang="en-US" sz="1800" dirty="0" err="1">
                <a:latin typeface="Century Gothic" panose="020B0502020202020204" pitchFamily="34" charset="0"/>
              </a:rPr>
              <a:t>na</a:t>
            </a:r>
            <a:r>
              <a:rPr lang="en-US" sz="1800" dirty="0">
                <a:latin typeface="Century Gothic" panose="020B0502020202020204" pitchFamily="34" charset="0"/>
              </a:rPr>
              <a:t> </a:t>
            </a:r>
            <a:r>
              <a:rPr lang="en-US" sz="1800" dirty="0" err="1">
                <a:latin typeface="Century Gothic" panose="020B0502020202020204" pitchFamily="34" charset="0"/>
              </a:rPr>
              <a:t>pele</a:t>
            </a:r>
            <a:endParaRPr lang="en-US" sz="1800" dirty="0">
              <a:latin typeface="Century Gothic" panose="020B0502020202020204" pitchFamily="34" charset="0"/>
            </a:endParaRPr>
          </a:p>
        </p:txBody>
      </p:sp>
      <p:pic>
        <p:nvPicPr>
          <p:cNvPr id="87" name="Imagem 86">
            <a:extLst>
              <a:ext uri="{FF2B5EF4-FFF2-40B4-BE49-F238E27FC236}">
                <a16:creationId xmlns="" xmlns:a16="http://schemas.microsoft.com/office/drawing/2014/main" id="{E48F2384-87D0-F744-9DEB-37C4A3F62FA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0650" y="5804697"/>
            <a:ext cx="933279" cy="743605"/>
          </a:xfrm>
          <a:prstGeom prst="ellipse">
            <a:avLst/>
          </a:prstGeom>
          <a:ln>
            <a:solidFill>
              <a:schemeClr val="accent1"/>
            </a:solidFill>
          </a:ln>
        </p:spPr>
      </p:pic>
      <p:sp>
        <p:nvSpPr>
          <p:cNvPr id="90" name="Title 1">
            <a:extLst>
              <a:ext uri="{FF2B5EF4-FFF2-40B4-BE49-F238E27FC236}">
                <a16:creationId xmlns="" xmlns:a16="http://schemas.microsoft.com/office/drawing/2014/main" id="{5302D87A-14F3-7247-9173-2851CBAA3F85}"/>
              </a:ext>
            </a:extLst>
          </p:cNvPr>
          <p:cNvSpPr txBox="1">
            <a:spLocks/>
          </p:cNvSpPr>
          <p:nvPr/>
        </p:nvSpPr>
        <p:spPr>
          <a:xfrm>
            <a:off x="7262465" y="5995103"/>
            <a:ext cx="4335733" cy="3627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800" dirty="0" err="1">
                <a:latin typeface="Century Gothic" panose="020B0502020202020204" pitchFamily="34" charset="0"/>
              </a:rPr>
              <a:t>Dores</a:t>
            </a:r>
            <a:r>
              <a:rPr lang="en-US" sz="1800" dirty="0">
                <a:latin typeface="Century Gothic" panose="020B0502020202020204" pitchFamily="34" charset="0"/>
              </a:rPr>
              <a:t> </a:t>
            </a:r>
            <a:r>
              <a:rPr lang="en-US" sz="1800" dirty="0" err="1">
                <a:latin typeface="Century Gothic" panose="020B0502020202020204" pitchFamily="34" charset="0"/>
              </a:rPr>
              <a:t>musculares</a:t>
            </a:r>
            <a:r>
              <a:rPr lang="en-US" sz="1800" dirty="0">
                <a:latin typeface="Century Gothic" panose="020B0502020202020204" pitchFamily="34" charset="0"/>
              </a:rPr>
              <a:t> e </a:t>
            </a:r>
            <a:r>
              <a:rPr lang="en-US" sz="1800" dirty="0" err="1">
                <a:latin typeface="Century Gothic" panose="020B0502020202020204" pitchFamily="34" charset="0"/>
              </a:rPr>
              <a:t>nas</a:t>
            </a:r>
            <a:r>
              <a:rPr lang="en-US" sz="1800" dirty="0">
                <a:latin typeface="Century Gothic" panose="020B0502020202020204" pitchFamily="34" charset="0"/>
              </a:rPr>
              <a:t> </a:t>
            </a:r>
            <a:r>
              <a:rPr lang="en-US" sz="1800" dirty="0" err="1">
                <a:latin typeface="Century Gothic" panose="020B0502020202020204" pitchFamily="34" charset="0"/>
              </a:rPr>
              <a:t>articulações</a:t>
            </a:r>
            <a:endParaRPr lang="en-US" sz="1800" dirty="0">
              <a:latin typeface="Century Gothic" panose="020B0502020202020204" pitchFamily="34" charset="0"/>
            </a:endParaRPr>
          </a:p>
        </p:txBody>
      </p:sp>
      <p:pic>
        <p:nvPicPr>
          <p:cNvPr id="91" name="Imagem 90">
            <a:extLst>
              <a:ext uri="{FF2B5EF4-FFF2-40B4-BE49-F238E27FC236}">
                <a16:creationId xmlns="" xmlns:a16="http://schemas.microsoft.com/office/drawing/2014/main" id="{26478152-0F76-594B-9D08-DA5E64E0083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374572" y="1314425"/>
            <a:ext cx="608810" cy="1217620"/>
          </a:xfrm>
          <a:prstGeom prst="rect">
            <a:avLst/>
          </a:prstGeom>
        </p:spPr>
      </p:pic>
      <p:sp>
        <p:nvSpPr>
          <p:cNvPr id="92" name="Title 1">
            <a:extLst>
              <a:ext uri="{FF2B5EF4-FFF2-40B4-BE49-F238E27FC236}">
                <a16:creationId xmlns="" xmlns:a16="http://schemas.microsoft.com/office/drawing/2014/main" id="{7F076A10-A321-EA48-9A84-F824BB73F0B3}"/>
              </a:ext>
            </a:extLst>
          </p:cNvPr>
          <p:cNvSpPr txBox="1">
            <a:spLocks/>
          </p:cNvSpPr>
          <p:nvPr/>
        </p:nvSpPr>
        <p:spPr>
          <a:xfrm>
            <a:off x="1892601" y="1635878"/>
            <a:ext cx="822679" cy="37437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8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Febre</a:t>
            </a:r>
            <a:endParaRPr lang="en-US" sz="18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88366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reeform 15">
            <a:extLst>
              <a:ext uri="{FF2B5EF4-FFF2-40B4-BE49-F238E27FC236}">
                <a16:creationId xmlns="" xmlns:a16="http://schemas.microsoft.com/office/drawing/2014/main" id="{6844EB2B-58DA-1B4F-A3D0-9CC74239D3E8}"/>
              </a:ext>
            </a:extLst>
          </p:cNvPr>
          <p:cNvSpPr>
            <a:spLocks/>
          </p:cNvSpPr>
          <p:nvPr/>
        </p:nvSpPr>
        <p:spPr bwMode="auto">
          <a:xfrm>
            <a:off x="5822768" y="3303808"/>
            <a:ext cx="6182138" cy="1155869"/>
          </a:xfrm>
          <a:custGeom>
            <a:avLst/>
            <a:gdLst>
              <a:gd name="T0" fmla="*/ 345 w 6640"/>
              <a:gd name="T1" fmla="*/ 2 h 1539"/>
              <a:gd name="T2" fmla="*/ 364 w 6640"/>
              <a:gd name="T3" fmla="*/ 106 h 1539"/>
              <a:gd name="T4" fmla="*/ 144 w 6640"/>
              <a:gd name="T5" fmla="*/ 295 h 1539"/>
              <a:gd name="T6" fmla="*/ 60 w 6640"/>
              <a:gd name="T7" fmla="*/ 650 h 1539"/>
              <a:gd name="T8" fmla="*/ 34 w 6640"/>
              <a:gd name="T9" fmla="*/ 818 h 1539"/>
              <a:gd name="T10" fmla="*/ 138 w 6640"/>
              <a:gd name="T11" fmla="*/ 979 h 1539"/>
              <a:gd name="T12" fmla="*/ 187 w 6640"/>
              <a:gd name="T13" fmla="*/ 1018 h 1539"/>
              <a:gd name="T14" fmla="*/ 118 w 6640"/>
              <a:gd name="T15" fmla="*/ 1121 h 1539"/>
              <a:gd name="T16" fmla="*/ 162 w 6640"/>
              <a:gd name="T17" fmla="*/ 1119 h 1539"/>
              <a:gd name="T18" fmla="*/ 198 w 6640"/>
              <a:gd name="T19" fmla="*/ 1163 h 1539"/>
              <a:gd name="T20" fmla="*/ 263 w 6640"/>
              <a:gd name="T21" fmla="*/ 1267 h 1539"/>
              <a:gd name="T22" fmla="*/ 226 w 6640"/>
              <a:gd name="T23" fmla="*/ 1384 h 1539"/>
              <a:gd name="T24" fmla="*/ 5667 w 6640"/>
              <a:gd name="T25" fmla="*/ 1503 h 1539"/>
              <a:gd name="T26" fmla="*/ 6157 w 6640"/>
              <a:gd name="T27" fmla="*/ 1407 h 1539"/>
              <a:gd name="T28" fmla="*/ 6299 w 6640"/>
              <a:gd name="T29" fmla="*/ 1120 h 1539"/>
              <a:gd name="T30" fmla="*/ 6429 w 6640"/>
              <a:gd name="T31" fmla="*/ 931 h 1539"/>
              <a:gd name="T32" fmla="*/ 6521 w 6640"/>
              <a:gd name="T33" fmla="*/ 701 h 1539"/>
              <a:gd name="T34" fmla="*/ 6313 w 6640"/>
              <a:gd name="T35" fmla="*/ 700 h 1539"/>
              <a:gd name="T36" fmla="*/ 6514 w 6640"/>
              <a:gd name="T37" fmla="*/ 324 h 1539"/>
              <a:gd name="T38" fmla="*/ 6479 w 6640"/>
              <a:gd name="T39" fmla="*/ 324 h 1539"/>
              <a:gd name="T40" fmla="*/ 6590 w 6640"/>
              <a:gd name="T41" fmla="*/ 135 h 1539"/>
              <a:gd name="T42" fmla="*/ 6556 w 6640"/>
              <a:gd name="T43" fmla="*/ 3 h 1539"/>
              <a:gd name="T44" fmla="*/ 345 w 6640"/>
              <a:gd name="T45" fmla="*/ 2 h 1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640" h="1539">
                <a:moveTo>
                  <a:pt x="345" y="2"/>
                </a:moveTo>
                <a:cubicBezTo>
                  <a:pt x="327" y="2"/>
                  <a:pt x="378" y="70"/>
                  <a:pt x="364" y="106"/>
                </a:cubicBezTo>
                <a:cubicBezTo>
                  <a:pt x="350" y="142"/>
                  <a:pt x="190" y="205"/>
                  <a:pt x="144" y="295"/>
                </a:cubicBezTo>
                <a:cubicBezTo>
                  <a:pt x="98" y="385"/>
                  <a:pt x="95" y="569"/>
                  <a:pt x="60" y="650"/>
                </a:cubicBezTo>
                <a:cubicBezTo>
                  <a:pt x="25" y="731"/>
                  <a:pt x="0" y="766"/>
                  <a:pt x="34" y="818"/>
                </a:cubicBezTo>
                <a:cubicBezTo>
                  <a:pt x="68" y="871"/>
                  <a:pt x="114" y="977"/>
                  <a:pt x="138" y="979"/>
                </a:cubicBezTo>
                <a:cubicBezTo>
                  <a:pt x="161" y="980"/>
                  <a:pt x="209" y="976"/>
                  <a:pt x="187" y="1018"/>
                </a:cubicBezTo>
                <a:cubicBezTo>
                  <a:pt x="165" y="1060"/>
                  <a:pt x="172" y="1086"/>
                  <a:pt x="118" y="1121"/>
                </a:cubicBezTo>
                <a:cubicBezTo>
                  <a:pt x="118" y="1121"/>
                  <a:pt x="107" y="1134"/>
                  <a:pt x="162" y="1119"/>
                </a:cubicBezTo>
                <a:cubicBezTo>
                  <a:pt x="162" y="1119"/>
                  <a:pt x="176" y="1115"/>
                  <a:pt x="198" y="1163"/>
                </a:cubicBezTo>
                <a:cubicBezTo>
                  <a:pt x="220" y="1211"/>
                  <a:pt x="242" y="1267"/>
                  <a:pt x="263" y="1267"/>
                </a:cubicBezTo>
                <a:cubicBezTo>
                  <a:pt x="285" y="1267"/>
                  <a:pt x="253" y="1354"/>
                  <a:pt x="226" y="1384"/>
                </a:cubicBezTo>
                <a:cubicBezTo>
                  <a:pt x="87" y="1539"/>
                  <a:pt x="5493" y="1535"/>
                  <a:pt x="5667" y="1503"/>
                </a:cubicBezTo>
                <a:cubicBezTo>
                  <a:pt x="5841" y="1472"/>
                  <a:pt x="6061" y="1489"/>
                  <a:pt x="6157" y="1407"/>
                </a:cubicBezTo>
                <a:cubicBezTo>
                  <a:pt x="6254" y="1325"/>
                  <a:pt x="6286" y="1266"/>
                  <a:pt x="6299" y="1120"/>
                </a:cubicBezTo>
                <a:cubicBezTo>
                  <a:pt x="6313" y="975"/>
                  <a:pt x="6373" y="980"/>
                  <a:pt x="6429" y="931"/>
                </a:cubicBezTo>
                <a:cubicBezTo>
                  <a:pt x="6485" y="881"/>
                  <a:pt x="6501" y="757"/>
                  <a:pt x="6521" y="701"/>
                </a:cubicBezTo>
                <a:cubicBezTo>
                  <a:pt x="6521" y="701"/>
                  <a:pt x="6289" y="748"/>
                  <a:pt x="6313" y="700"/>
                </a:cubicBezTo>
                <a:cubicBezTo>
                  <a:pt x="6337" y="652"/>
                  <a:pt x="6492" y="596"/>
                  <a:pt x="6514" y="324"/>
                </a:cubicBezTo>
                <a:cubicBezTo>
                  <a:pt x="6479" y="324"/>
                  <a:pt x="6479" y="324"/>
                  <a:pt x="6479" y="324"/>
                </a:cubicBezTo>
                <a:cubicBezTo>
                  <a:pt x="6479" y="324"/>
                  <a:pt x="6552" y="250"/>
                  <a:pt x="6590" y="135"/>
                </a:cubicBezTo>
                <a:cubicBezTo>
                  <a:pt x="6628" y="20"/>
                  <a:pt x="6640" y="7"/>
                  <a:pt x="6556" y="3"/>
                </a:cubicBezTo>
                <a:cubicBezTo>
                  <a:pt x="6473" y="0"/>
                  <a:pt x="880" y="2"/>
                  <a:pt x="345" y="2"/>
                </a:cubicBezTo>
                <a:close/>
              </a:path>
            </a:pathLst>
          </a:custGeom>
          <a:gradFill>
            <a:gsLst>
              <a:gs pos="0">
                <a:srgbClr val="24475A"/>
              </a:gs>
              <a:gs pos="97000">
                <a:srgbClr val="EF7D4F"/>
              </a:gs>
              <a:gs pos="43000">
                <a:srgbClr val="366C89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4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514181" y="370011"/>
            <a:ext cx="10794676" cy="9971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3600" b="1" dirty="0">
                <a:gradFill>
                  <a:gsLst>
                    <a:gs pos="0">
                      <a:srgbClr val="285066"/>
                    </a:gs>
                    <a:gs pos="45000">
                      <a:srgbClr val="366C89"/>
                    </a:gs>
                    <a:gs pos="100000">
                      <a:srgbClr val="EF7D4F"/>
                    </a:gs>
                  </a:gsLst>
                  <a:lin ang="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cometimento Neurológico em Adultos Infectados pelo Vírus da Zika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297247" y="3995734"/>
            <a:ext cx="2626238" cy="61555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pt-BR" sz="2000" b="1" dirty="0">
                <a:latin typeface="Century Gothic" panose="020B0502020202020204" pitchFamily="34" charset="0"/>
              </a:rPr>
              <a:t>Síndrome de </a:t>
            </a:r>
            <a:r>
              <a:rPr lang="pt-BR" sz="2000" b="1" dirty="0" err="1">
                <a:latin typeface="Century Gothic" panose="020B0502020202020204" pitchFamily="34" charset="0"/>
              </a:rPr>
              <a:t>Guillain-Barré</a:t>
            </a:r>
            <a:r>
              <a:rPr lang="pt-BR" sz="2000" b="1" dirty="0">
                <a:latin typeface="Century Gothic" panose="020B0502020202020204" pitchFamily="34" charset="0"/>
              </a:rPr>
              <a:t> (SGB)</a:t>
            </a: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3020060" y="3995734"/>
            <a:ext cx="2626238" cy="61555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pt-BR" sz="2000" b="1" dirty="0">
                <a:latin typeface="Century Gothic" panose="020B0502020202020204" pitchFamily="34" charset="0"/>
              </a:rPr>
              <a:t>Encefalites, Meningites e Mielites</a:t>
            </a: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235884" y="4723762"/>
            <a:ext cx="2626238" cy="17235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pt-BR" sz="160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Doença autoimune em que o sistema imunológico ataca os nervos causando dor, fraqueza muscular e paralisia. Potencialmente fatal.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3082956" y="1666876"/>
            <a:ext cx="6026089" cy="0"/>
          </a:xfrm>
          <a:prstGeom prst="line">
            <a:avLst/>
          </a:prstGeom>
          <a:ln w="12700" cap="rnd">
            <a:gradFill flip="none" rotWithShape="1">
              <a:gsLst>
                <a:gs pos="0">
                  <a:srgbClr val="285066"/>
                </a:gs>
                <a:gs pos="45000">
                  <a:srgbClr val="366C89"/>
                </a:gs>
                <a:gs pos="100000">
                  <a:srgbClr val="EF7D4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1"/>
          <p:cNvSpPr txBox="1">
            <a:spLocks/>
          </p:cNvSpPr>
          <p:nvPr/>
        </p:nvSpPr>
        <p:spPr>
          <a:xfrm>
            <a:off x="2993909" y="4723763"/>
            <a:ext cx="2626238" cy="17235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pt-BR" sz="160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Inflamações do cérebro, meninges e medula espinhal. Podem causar confusão mental, convulsões, paralisia, coma e sequelas graves. Potencialmente fatais. </a:t>
            </a:r>
          </a:p>
        </p:txBody>
      </p:sp>
      <p:pic>
        <p:nvPicPr>
          <p:cNvPr id="15" name="Espaço Reservado para Imagem 14">
            <a:extLst>
              <a:ext uri="{FF2B5EF4-FFF2-40B4-BE49-F238E27FC236}">
                <a16:creationId xmlns="" xmlns:a16="http://schemas.microsoft.com/office/drawing/2014/main" id="{B8B39D58-66C2-7B41-94EF-2CC8CECA89F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020060" y="1841941"/>
            <a:ext cx="2264976" cy="1978729"/>
          </a:xfrm>
          <a:solidFill>
            <a:schemeClr val="accent2"/>
          </a:solidFill>
        </p:spPr>
      </p:pic>
      <p:sp>
        <p:nvSpPr>
          <p:cNvPr id="25" name="Freeform 15">
            <a:extLst>
              <a:ext uri="{FF2B5EF4-FFF2-40B4-BE49-F238E27FC236}">
                <a16:creationId xmlns="" xmlns:a16="http://schemas.microsoft.com/office/drawing/2014/main" id="{2471E822-7701-1742-8138-F6CB431F8E33}"/>
              </a:ext>
            </a:extLst>
          </p:cNvPr>
          <p:cNvSpPr>
            <a:spLocks/>
          </p:cNvSpPr>
          <p:nvPr/>
        </p:nvSpPr>
        <p:spPr bwMode="auto">
          <a:xfrm>
            <a:off x="5822769" y="2087916"/>
            <a:ext cx="6182138" cy="946151"/>
          </a:xfrm>
          <a:custGeom>
            <a:avLst/>
            <a:gdLst>
              <a:gd name="T0" fmla="*/ 345 w 6640"/>
              <a:gd name="T1" fmla="*/ 2 h 1539"/>
              <a:gd name="T2" fmla="*/ 364 w 6640"/>
              <a:gd name="T3" fmla="*/ 106 h 1539"/>
              <a:gd name="T4" fmla="*/ 144 w 6640"/>
              <a:gd name="T5" fmla="*/ 295 h 1539"/>
              <a:gd name="T6" fmla="*/ 60 w 6640"/>
              <a:gd name="T7" fmla="*/ 650 h 1539"/>
              <a:gd name="T8" fmla="*/ 34 w 6640"/>
              <a:gd name="T9" fmla="*/ 818 h 1539"/>
              <a:gd name="T10" fmla="*/ 138 w 6640"/>
              <a:gd name="T11" fmla="*/ 979 h 1539"/>
              <a:gd name="T12" fmla="*/ 187 w 6640"/>
              <a:gd name="T13" fmla="*/ 1018 h 1539"/>
              <a:gd name="T14" fmla="*/ 118 w 6640"/>
              <a:gd name="T15" fmla="*/ 1121 h 1539"/>
              <a:gd name="T16" fmla="*/ 162 w 6640"/>
              <a:gd name="T17" fmla="*/ 1119 h 1539"/>
              <a:gd name="T18" fmla="*/ 198 w 6640"/>
              <a:gd name="T19" fmla="*/ 1163 h 1539"/>
              <a:gd name="T20" fmla="*/ 263 w 6640"/>
              <a:gd name="T21" fmla="*/ 1267 h 1539"/>
              <a:gd name="T22" fmla="*/ 226 w 6640"/>
              <a:gd name="T23" fmla="*/ 1384 h 1539"/>
              <a:gd name="T24" fmla="*/ 5667 w 6640"/>
              <a:gd name="T25" fmla="*/ 1503 h 1539"/>
              <a:gd name="T26" fmla="*/ 6157 w 6640"/>
              <a:gd name="T27" fmla="*/ 1407 h 1539"/>
              <a:gd name="T28" fmla="*/ 6299 w 6640"/>
              <a:gd name="T29" fmla="*/ 1120 h 1539"/>
              <a:gd name="T30" fmla="*/ 6429 w 6640"/>
              <a:gd name="T31" fmla="*/ 931 h 1539"/>
              <a:gd name="T32" fmla="*/ 6521 w 6640"/>
              <a:gd name="T33" fmla="*/ 701 h 1539"/>
              <a:gd name="T34" fmla="*/ 6313 w 6640"/>
              <a:gd name="T35" fmla="*/ 700 h 1539"/>
              <a:gd name="T36" fmla="*/ 6514 w 6640"/>
              <a:gd name="T37" fmla="*/ 324 h 1539"/>
              <a:gd name="T38" fmla="*/ 6479 w 6640"/>
              <a:gd name="T39" fmla="*/ 324 h 1539"/>
              <a:gd name="T40" fmla="*/ 6590 w 6640"/>
              <a:gd name="T41" fmla="*/ 135 h 1539"/>
              <a:gd name="T42" fmla="*/ 6556 w 6640"/>
              <a:gd name="T43" fmla="*/ 3 h 1539"/>
              <a:gd name="T44" fmla="*/ 345 w 6640"/>
              <a:gd name="T45" fmla="*/ 2 h 1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640" h="1539">
                <a:moveTo>
                  <a:pt x="345" y="2"/>
                </a:moveTo>
                <a:cubicBezTo>
                  <a:pt x="327" y="2"/>
                  <a:pt x="378" y="70"/>
                  <a:pt x="364" y="106"/>
                </a:cubicBezTo>
                <a:cubicBezTo>
                  <a:pt x="350" y="142"/>
                  <a:pt x="190" y="205"/>
                  <a:pt x="144" y="295"/>
                </a:cubicBezTo>
                <a:cubicBezTo>
                  <a:pt x="98" y="385"/>
                  <a:pt x="95" y="569"/>
                  <a:pt x="60" y="650"/>
                </a:cubicBezTo>
                <a:cubicBezTo>
                  <a:pt x="25" y="731"/>
                  <a:pt x="0" y="766"/>
                  <a:pt x="34" y="818"/>
                </a:cubicBezTo>
                <a:cubicBezTo>
                  <a:pt x="68" y="871"/>
                  <a:pt x="114" y="977"/>
                  <a:pt x="138" y="979"/>
                </a:cubicBezTo>
                <a:cubicBezTo>
                  <a:pt x="161" y="980"/>
                  <a:pt x="209" y="976"/>
                  <a:pt x="187" y="1018"/>
                </a:cubicBezTo>
                <a:cubicBezTo>
                  <a:pt x="165" y="1060"/>
                  <a:pt x="172" y="1086"/>
                  <a:pt x="118" y="1121"/>
                </a:cubicBezTo>
                <a:cubicBezTo>
                  <a:pt x="118" y="1121"/>
                  <a:pt x="107" y="1134"/>
                  <a:pt x="162" y="1119"/>
                </a:cubicBezTo>
                <a:cubicBezTo>
                  <a:pt x="162" y="1119"/>
                  <a:pt x="176" y="1115"/>
                  <a:pt x="198" y="1163"/>
                </a:cubicBezTo>
                <a:cubicBezTo>
                  <a:pt x="220" y="1211"/>
                  <a:pt x="242" y="1267"/>
                  <a:pt x="263" y="1267"/>
                </a:cubicBezTo>
                <a:cubicBezTo>
                  <a:pt x="285" y="1267"/>
                  <a:pt x="253" y="1354"/>
                  <a:pt x="226" y="1384"/>
                </a:cubicBezTo>
                <a:cubicBezTo>
                  <a:pt x="87" y="1539"/>
                  <a:pt x="5493" y="1535"/>
                  <a:pt x="5667" y="1503"/>
                </a:cubicBezTo>
                <a:cubicBezTo>
                  <a:pt x="5841" y="1472"/>
                  <a:pt x="6061" y="1489"/>
                  <a:pt x="6157" y="1407"/>
                </a:cubicBezTo>
                <a:cubicBezTo>
                  <a:pt x="6254" y="1325"/>
                  <a:pt x="6286" y="1266"/>
                  <a:pt x="6299" y="1120"/>
                </a:cubicBezTo>
                <a:cubicBezTo>
                  <a:pt x="6313" y="975"/>
                  <a:pt x="6373" y="980"/>
                  <a:pt x="6429" y="931"/>
                </a:cubicBezTo>
                <a:cubicBezTo>
                  <a:pt x="6485" y="881"/>
                  <a:pt x="6501" y="757"/>
                  <a:pt x="6521" y="701"/>
                </a:cubicBezTo>
                <a:cubicBezTo>
                  <a:pt x="6521" y="701"/>
                  <a:pt x="6289" y="748"/>
                  <a:pt x="6313" y="700"/>
                </a:cubicBezTo>
                <a:cubicBezTo>
                  <a:pt x="6337" y="652"/>
                  <a:pt x="6492" y="596"/>
                  <a:pt x="6514" y="324"/>
                </a:cubicBezTo>
                <a:cubicBezTo>
                  <a:pt x="6479" y="324"/>
                  <a:pt x="6479" y="324"/>
                  <a:pt x="6479" y="324"/>
                </a:cubicBezTo>
                <a:cubicBezTo>
                  <a:pt x="6479" y="324"/>
                  <a:pt x="6552" y="250"/>
                  <a:pt x="6590" y="135"/>
                </a:cubicBezTo>
                <a:cubicBezTo>
                  <a:pt x="6628" y="20"/>
                  <a:pt x="6640" y="7"/>
                  <a:pt x="6556" y="3"/>
                </a:cubicBezTo>
                <a:cubicBezTo>
                  <a:pt x="6473" y="0"/>
                  <a:pt x="880" y="2"/>
                  <a:pt x="345" y="2"/>
                </a:cubicBezTo>
                <a:close/>
              </a:path>
            </a:pathLst>
          </a:custGeom>
          <a:gradFill>
            <a:gsLst>
              <a:gs pos="0">
                <a:srgbClr val="24475A"/>
              </a:gs>
              <a:gs pos="97000">
                <a:srgbClr val="EF7D4F"/>
              </a:gs>
              <a:gs pos="43000">
                <a:srgbClr val="366C89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1" name="Title 1">
            <a:extLst>
              <a:ext uri="{FF2B5EF4-FFF2-40B4-BE49-F238E27FC236}">
                <a16:creationId xmlns="" xmlns:a16="http://schemas.microsoft.com/office/drawing/2014/main" id="{50E6D994-060B-5646-A639-BB9860D63481}"/>
              </a:ext>
            </a:extLst>
          </p:cNvPr>
          <p:cNvSpPr txBox="1">
            <a:spLocks/>
          </p:cNvSpPr>
          <p:nvPr/>
        </p:nvSpPr>
        <p:spPr>
          <a:xfrm>
            <a:off x="6257774" y="2202019"/>
            <a:ext cx="5419701" cy="67710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pt-BR" sz="2200" dirty="0">
                <a:solidFill>
                  <a:schemeClr val="bg1"/>
                </a:solidFill>
                <a:latin typeface="Century Gothic" panose="020B0502020202020204" pitchFamily="34" charset="0"/>
              </a:rPr>
              <a:t>SGB afeta cerca de 1,23% dos pacientes infectados com Zika*</a:t>
            </a:r>
          </a:p>
        </p:txBody>
      </p:sp>
      <p:sp>
        <p:nvSpPr>
          <p:cNvPr id="47" name="Freeform 15">
            <a:extLst>
              <a:ext uri="{FF2B5EF4-FFF2-40B4-BE49-F238E27FC236}">
                <a16:creationId xmlns="" xmlns:a16="http://schemas.microsoft.com/office/drawing/2014/main" id="{98267BD9-002B-B947-823B-4D6144F25710}"/>
              </a:ext>
            </a:extLst>
          </p:cNvPr>
          <p:cNvSpPr>
            <a:spLocks/>
          </p:cNvSpPr>
          <p:nvPr/>
        </p:nvSpPr>
        <p:spPr bwMode="auto">
          <a:xfrm>
            <a:off x="5869496" y="4723762"/>
            <a:ext cx="6182138" cy="946151"/>
          </a:xfrm>
          <a:custGeom>
            <a:avLst/>
            <a:gdLst>
              <a:gd name="T0" fmla="*/ 345 w 6640"/>
              <a:gd name="T1" fmla="*/ 2 h 1539"/>
              <a:gd name="T2" fmla="*/ 364 w 6640"/>
              <a:gd name="T3" fmla="*/ 106 h 1539"/>
              <a:gd name="T4" fmla="*/ 144 w 6640"/>
              <a:gd name="T5" fmla="*/ 295 h 1539"/>
              <a:gd name="T6" fmla="*/ 60 w 6640"/>
              <a:gd name="T7" fmla="*/ 650 h 1539"/>
              <a:gd name="T8" fmla="*/ 34 w 6640"/>
              <a:gd name="T9" fmla="*/ 818 h 1539"/>
              <a:gd name="T10" fmla="*/ 138 w 6640"/>
              <a:gd name="T11" fmla="*/ 979 h 1539"/>
              <a:gd name="T12" fmla="*/ 187 w 6640"/>
              <a:gd name="T13" fmla="*/ 1018 h 1539"/>
              <a:gd name="T14" fmla="*/ 118 w 6640"/>
              <a:gd name="T15" fmla="*/ 1121 h 1539"/>
              <a:gd name="T16" fmla="*/ 162 w 6640"/>
              <a:gd name="T17" fmla="*/ 1119 h 1539"/>
              <a:gd name="T18" fmla="*/ 198 w 6640"/>
              <a:gd name="T19" fmla="*/ 1163 h 1539"/>
              <a:gd name="T20" fmla="*/ 263 w 6640"/>
              <a:gd name="T21" fmla="*/ 1267 h 1539"/>
              <a:gd name="T22" fmla="*/ 226 w 6640"/>
              <a:gd name="T23" fmla="*/ 1384 h 1539"/>
              <a:gd name="T24" fmla="*/ 5667 w 6640"/>
              <a:gd name="T25" fmla="*/ 1503 h 1539"/>
              <a:gd name="T26" fmla="*/ 6157 w 6640"/>
              <a:gd name="T27" fmla="*/ 1407 h 1539"/>
              <a:gd name="T28" fmla="*/ 6299 w 6640"/>
              <a:gd name="T29" fmla="*/ 1120 h 1539"/>
              <a:gd name="T30" fmla="*/ 6429 w 6640"/>
              <a:gd name="T31" fmla="*/ 931 h 1539"/>
              <a:gd name="T32" fmla="*/ 6521 w 6640"/>
              <a:gd name="T33" fmla="*/ 701 h 1539"/>
              <a:gd name="T34" fmla="*/ 6313 w 6640"/>
              <a:gd name="T35" fmla="*/ 700 h 1539"/>
              <a:gd name="T36" fmla="*/ 6514 w 6640"/>
              <a:gd name="T37" fmla="*/ 324 h 1539"/>
              <a:gd name="T38" fmla="*/ 6479 w 6640"/>
              <a:gd name="T39" fmla="*/ 324 h 1539"/>
              <a:gd name="T40" fmla="*/ 6590 w 6640"/>
              <a:gd name="T41" fmla="*/ 135 h 1539"/>
              <a:gd name="T42" fmla="*/ 6556 w 6640"/>
              <a:gd name="T43" fmla="*/ 3 h 1539"/>
              <a:gd name="T44" fmla="*/ 345 w 6640"/>
              <a:gd name="T45" fmla="*/ 2 h 1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640" h="1539">
                <a:moveTo>
                  <a:pt x="345" y="2"/>
                </a:moveTo>
                <a:cubicBezTo>
                  <a:pt x="327" y="2"/>
                  <a:pt x="378" y="70"/>
                  <a:pt x="364" y="106"/>
                </a:cubicBezTo>
                <a:cubicBezTo>
                  <a:pt x="350" y="142"/>
                  <a:pt x="190" y="205"/>
                  <a:pt x="144" y="295"/>
                </a:cubicBezTo>
                <a:cubicBezTo>
                  <a:pt x="98" y="385"/>
                  <a:pt x="95" y="569"/>
                  <a:pt x="60" y="650"/>
                </a:cubicBezTo>
                <a:cubicBezTo>
                  <a:pt x="25" y="731"/>
                  <a:pt x="0" y="766"/>
                  <a:pt x="34" y="818"/>
                </a:cubicBezTo>
                <a:cubicBezTo>
                  <a:pt x="68" y="871"/>
                  <a:pt x="114" y="977"/>
                  <a:pt x="138" y="979"/>
                </a:cubicBezTo>
                <a:cubicBezTo>
                  <a:pt x="161" y="980"/>
                  <a:pt x="209" y="976"/>
                  <a:pt x="187" y="1018"/>
                </a:cubicBezTo>
                <a:cubicBezTo>
                  <a:pt x="165" y="1060"/>
                  <a:pt x="172" y="1086"/>
                  <a:pt x="118" y="1121"/>
                </a:cubicBezTo>
                <a:cubicBezTo>
                  <a:pt x="118" y="1121"/>
                  <a:pt x="107" y="1134"/>
                  <a:pt x="162" y="1119"/>
                </a:cubicBezTo>
                <a:cubicBezTo>
                  <a:pt x="162" y="1119"/>
                  <a:pt x="176" y="1115"/>
                  <a:pt x="198" y="1163"/>
                </a:cubicBezTo>
                <a:cubicBezTo>
                  <a:pt x="220" y="1211"/>
                  <a:pt x="242" y="1267"/>
                  <a:pt x="263" y="1267"/>
                </a:cubicBezTo>
                <a:cubicBezTo>
                  <a:pt x="285" y="1267"/>
                  <a:pt x="253" y="1354"/>
                  <a:pt x="226" y="1384"/>
                </a:cubicBezTo>
                <a:cubicBezTo>
                  <a:pt x="87" y="1539"/>
                  <a:pt x="5493" y="1535"/>
                  <a:pt x="5667" y="1503"/>
                </a:cubicBezTo>
                <a:cubicBezTo>
                  <a:pt x="5841" y="1472"/>
                  <a:pt x="6061" y="1489"/>
                  <a:pt x="6157" y="1407"/>
                </a:cubicBezTo>
                <a:cubicBezTo>
                  <a:pt x="6254" y="1325"/>
                  <a:pt x="6286" y="1266"/>
                  <a:pt x="6299" y="1120"/>
                </a:cubicBezTo>
                <a:cubicBezTo>
                  <a:pt x="6313" y="975"/>
                  <a:pt x="6373" y="980"/>
                  <a:pt x="6429" y="931"/>
                </a:cubicBezTo>
                <a:cubicBezTo>
                  <a:pt x="6485" y="881"/>
                  <a:pt x="6501" y="757"/>
                  <a:pt x="6521" y="701"/>
                </a:cubicBezTo>
                <a:cubicBezTo>
                  <a:pt x="6521" y="701"/>
                  <a:pt x="6289" y="748"/>
                  <a:pt x="6313" y="700"/>
                </a:cubicBezTo>
                <a:cubicBezTo>
                  <a:pt x="6337" y="652"/>
                  <a:pt x="6492" y="596"/>
                  <a:pt x="6514" y="324"/>
                </a:cubicBezTo>
                <a:cubicBezTo>
                  <a:pt x="6479" y="324"/>
                  <a:pt x="6479" y="324"/>
                  <a:pt x="6479" y="324"/>
                </a:cubicBezTo>
                <a:cubicBezTo>
                  <a:pt x="6479" y="324"/>
                  <a:pt x="6552" y="250"/>
                  <a:pt x="6590" y="135"/>
                </a:cubicBezTo>
                <a:cubicBezTo>
                  <a:pt x="6628" y="20"/>
                  <a:pt x="6640" y="7"/>
                  <a:pt x="6556" y="3"/>
                </a:cubicBezTo>
                <a:cubicBezTo>
                  <a:pt x="6473" y="0"/>
                  <a:pt x="880" y="2"/>
                  <a:pt x="345" y="2"/>
                </a:cubicBezTo>
                <a:close/>
              </a:path>
            </a:pathLst>
          </a:custGeom>
          <a:gradFill>
            <a:gsLst>
              <a:gs pos="0">
                <a:srgbClr val="24475A"/>
              </a:gs>
              <a:gs pos="97000">
                <a:srgbClr val="EF7D4F"/>
              </a:gs>
              <a:gs pos="43000">
                <a:srgbClr val="366C89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400" dirty="0"/>
          </a:p>
        </p:txBody>
      </p:sp>
      <p:sp>
        <p:nvSpPr>
          <p:cNvPr id="48" name="Title 1">
            <a:extLst>
              <a:ext uri="{FF2B5EF4-FFF2-40B4-BE49-F238E27FC236}">
                <a16:creationId xmlns="" xmlns:a16="http://schemas.microsoft.com/office/drawing/2014/main" id="{0F051794-1F9A-2642-AFF5-0956EAEAD054}"/>
              </a:ext>
            </a:extLst>
          </p:cNvPr>
          <p:cNvSpPr txBox="1">
            <a:spLocks/>
          </p:cNvSpPr>
          <p:nvPr/>
        </p:nvSpPr>
        <p:spPr>
          <a:xfrm>
            <a:off x="6304500" y="4837865"/>
            <a:ext cx="5700405" cy="67710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pt-BR" sz="2200" dirty="0">
                <a:solidFill>
                  <a:schemeClr val="bg1"/>
                </a:solidFill>
                <a:latin typeface="Century Gothic" panose="020B0502020202020204" pitchFamily="34" charset="0"/>
              </a:rPr>
              <a:t>88% dos pacientes com desordens neurais no centro carioca tiveram Zika**</a:t>
            </a:r>
          </a:p>
        </p:txBody>
      </p:sp>
      <p:sp>
        <p:nvSpPr>
          <p:cNvPr id="51" name="Title 1">
            <a:extLst>
              <a:ext uri="{FF2B5EF4-FFF2-40B4-BE49-F238E27FC236}">
                <a16:creationId xmlns="" xmlns:a16="http://schemas.microsoft.com/office/drawing/2014/main" id="{7A5BBBEF-A633-7B49-9A15-1EB556A9C566}"/>
              </a:ext>
            </a:extLst>
          </p:cNvPr>
          <p:cNvSpPr txBox="1">
            <a:spLocks/>
          </p:cNvSpPr>
          <p:nvPr/>
        </p:nvSpPr>
        <p:spPr>
          <a:xfrm>
            <a:off x="6304501" y="3361794"/>
            <a:ext cx="5419702" cy="9694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pt-BR" sz="2100" dirty="0">
                <a:solidFill>
                  <a:schemeClr val="bg1"/>
                </a:solidFill>
                <a:latin typeface="Century Gothic" panose="020B0502020202020204" pitchFamily="34" charset="0"/>
              </a:rPr>
              <a:t>Aumento na incidência de SGB e encefalite em centro neurológico do Rio de Janeiro**</a:t>
            </a:r>
          </a:p>
        </p:txBody>
      </p:sp>
      <p:pic>
        <p:nvPicPr>
          <p:cNvPr id="23" name="Espaço Reservado para Imagem 22">
            <a:extLst>
              <a:ext uri="{FF2B5EF4-FFF2-40B4-BE49-F238E27FC236}">
                <a16:creationId xmlns="" xmlns:a16="http://schemas.microsoft.com/office/drawing/2014/main" id="{A003D1BB-C115-0D43-B503-95BB32B4C7F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83"/>
          <a:stretch/>
        </p:blipFill>
        <p:spPr>
          <a:xfrm>
            <a:off x="406033" y="1841940"/>
            <a:ext cx="2264976" cy="1978729"/>
          </a:xfrm>
        </p:spPr>
      </p:pic>
      <p:sp>
        <p:nvSpPr>
          <p:cNvPr id="52" name="CaixaDeTexto 51">
            <a:extLst>
              <a:ext uri="{FF2B5EF4-FFF2-40B4-BE49-F238E27FC236}">
                <a16:creationId xmlns="" xmlns:a16="http://schemas.microsoft.com/office/drawing/2014/main" id="{CDBC7C20-6FFB-C646-8940-B6B9E3707EAB}"/>
              </a:ext>
            </a:extLst>
          </p:cNvPr>
          <p:cNvSpPr txBox="1"/>
          <p:nvPr/>
        </p:nvSpPr>
        <p:spPr>
          <a:xfrm>
            <a:off x="5822768" y="6124145"/>
            <a:ext cx="62415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ontes: *Barbi e col., Braz J </a:t>
            </a:r>
            <a:r>
              <a:rPr lang="pt-BR" dirty="0" err="1"/>
              <a:t>Infect</a:t>
            </a:r>
            <a:r>
              <a:rPr lang="pt-BR" dirty="0"/>
              <a:t> </a:t>
            </a:r>
            <a:r>
              <a:rPr lang="pt-BR" dirty="0" err="1"/>
              <a:t>Diseases</a:t>
            </a:r>
            <a:r>
              <a:rPr lang="pt-BR" dirty="0"/>
              <a:t>, 2018. **Silva e col., JAMA </a:t>
            </a:r>
            <a:r>
              <a:rPr lang="pt-BR" dirty="0" err="1"/>
              <a:t>Neurology</a:t>
            </a:r>
            <a:r>
              <a:rPr lang="pt-BR" dirty="0"/>
              <a:t>, 2017.</a:t>
            </a:r>
          </a:p>
        </p:txBody>
      </p:sp>
    </p:spTree>
    <p:extLst>
      <p:ext uri="{BB962C8B-B14F-4D97-AF65-F5344CB8AC3E}">
        <p14:creationId xmlns:p14="http://schemas.microsoft.com/office/powerpoint/2010/main" val="15457560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Rectangle 147"/>
          <p:cNvSpPr/>
          <p:nvPr/>
        </p:nvSpPr>
        <p:spPr>
          <a:xfrm flipH="1">
            <a:off x="-4" y="0"/>
            <a:ext cx="4742367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14686" y="585656"/>
            <a:ext cx="4284446" cy="249299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3600" dirty="0">
                <a:gradFill>
                  <a:gsLst>
                    <a:gs pos="0">
                      <a:srgbClr val="295268"/>
                    </a:gs>
                    <a:gs pos="43000">
                      <a:srgbClr val="366C89"/>
                    </a:gs>
                    <a:gs pos="100000">
                      <a:srgbClr val="EA7D50"/>
                    </a:gs>
                  </a:gsLst>
                  <a:lin ang="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O Vírus da Zika Pode Causar Doença no Cérebro em Desenvolvimento </a:t>
            </a:r>
            <a:r>
              <a:rPr lang="pt-BR" sz="3600" b="1" dirty="0">
                <a:gradFill>
                  <a:gsLst>
                    <a:gs pos="0">
                      <a:srgbClr val="295268"/>
                    </a:gs>
                    <a:gs pos="43000">
                      <a:srgbClr val="366C89"/>
                    </a:gs>
                    <a:gs pos="100000">
                      <a:srgbClr val="EA7D50"/>
                    </a:gs>
                  </a:gsLst>
                  <a:lin ang="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e Adulto</a:t>
            </a:r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>
          <a:xfrm>
            <a:off x="299495" y="3338830"/>
            <a:ext cx="4143375" cy="0"/>
          </a:xfrm>
          <a:prstGeom prst="line">
            <a:avLst/>
          </a:prstGeom>
          <a:ln w="12700" cap="rnd">
            <a:gradFill flip="none" rotWithShape="1">
              <a:gsLst>
                <a:gs pos="0">
                  <a:srgbClr val="285066"/>
                </a:gs>
                <a:gs pos="45000">
                  <a:srgbClr val="366C89"/>
                </a:gs>
                <a:gs pos="100000">
                  <a:srgbClr val="EF7D4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itle 1">
            <a:extLst>
              <a:ext uri="{FF2B5EF4-FFF2-40B4-BE49-F238E27FC236}">
                <a16:creationId xmlns="" xmlns:a16="http://schemas.microsoft.com/office/drawing/2014/main" id="{A0A64A13-AABF-E249-B8A6-1CFE7D9DDA1D}"/>
              </a:ext>
            </a:extLst>
          </p:cNvPr>
          <p:cNvSpPr txBox="1">
            <a:spLocks/>
          </p:cNvSpPr>
          <p:nvPr/>
        </p:nvSpPr>
        <p:spPr>
          <a:xfrm>
            <a:off x="142046" y="4060296"/>
            <a:ext cx="4409373" cy="153888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pt-BR" sz="2000" b="1" dirty="0">
                <a:solidFill>
                  <a:schemeClr val="tx2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Pacientes jovens e adultos infectados pelo vírus da Zika são vítimas em potencial (negligenciadas) de acometimento neurológico tardio.</a:t>
            </a:r>
          </a:p>
        </p:txBody>
      </p:sp>
      <p:grpSp>
        <p:nvGrpSpPr>
          <p:cNvPr id="187" name="Agrupar 186">
            <a:extLst>
              <a:ext uri="{FF2B5EF4-FFF2-40B4-BE49-F238E27FC236}">
                <a16:creationId xmlns="" xmlns:a16="http://schemas.microsoft.com/office/drawing/2014/main" id="{D9D211A5-4BE9-8C4C-9648-E3278CF69093}"/>
              </a:ext>
            </a:extLst>
          </p:cNvPr>
          <p:cNvGrpSpPr/>
          <p:nvPr/>
        </p:nvGrpSpPr>
        <p:grpSpPr>
          <a:xfrm>
            <a:off x="5400448" y="55344"/>
            <a:ext cx="6105760" cy="6566971"/>
            <a:chOff x="114506" y="291029"/>
            <a:chExt cx="6105760" cy="6566971"/>
          </a:xfrm>
        </p:grpSpPr>
        <p:pic>
          <p:nvPicPr>
            <p:cNvPr id="188" name="Imagem 187">
              <a:extLst>
                <a:ext uri="{FF2B5EF4-FFF2-40B4-BE49-F238E27FC236}">
                  <a16:creationId xmlns="" xmlns:a16="http://schemas.microsoft.com/office/drawing/2014/main" id="{458DB771-D98D-4248-8FFC-D0ADB5BDB9C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4506" y="291029"/>
              <a:ext cx="5848475" cy="6448091"/>
            </a:xfrm>
            <a:prstGeom prst="rect">
              <a:avLst/>
            </a:prstGeom>
          </p:spPr>
        </p:pic>
        <p:sp>
          <p:nvSpPr>
            <p:cNvPr id="189" name="Retângulo 188">
              <a:extLst>
                <a:ext uri="{FF2B5EF4-FFF2-40B4-BE49-F238E27FC236}">
                  <a16:creationId xmlns="" xmlns:a16="http://schemas.microsoft.com/office/drawing/2014/main" id="{7599B6AE-A0BA-F94E-8700-AB092049C4C7}"/>
                </a:ext>
              </a:extLst>
            </p:cNvPr>
            <p:cNvSpPr/>
            <p:nvPr/>
          </p:nvSpPr>
          <p:spPr>
            <a:xfrm>
              <a:off x="3227294" y="6382871"/>
              <a:ext cx="2992972" cy="47512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90" name="Retângulo 189">
              <a:extLst>
                <a:ext uri="{FF2B5EF4-FFF2-40B4-BE49-F238E27FC236}">
                  <a16:creationId xmlns="" xmlns:a16="http://schemas.microsoft.com/office/drawing/2014/main" id="{7DFFAA12-1F58-E949-9788-CEDE8B232C8F}"/>
                </a:ext>
              </a:extLst>
            </p:cNvPr>
            <p:cNvSpPr/>
            <p:nvPr/>
          </p:nvSpPr>
          <p:spPr>
            <a:xfrm>
              <a:off x="1968704" y="4592257"/>
              <a:ext cx="2082673" cy="10734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91" name="Retângulo 190">
              <a:extLst>
                <a:ext uri="{FF2B5EF4-FFF2-40B4-BE49-F238E27FC236}">
                  <a16:creationId xmlns="" xmlns:a16="http://schemas.microsoft.com/office/drawing/2014/main" id="{17FF1443-2281-164E-8492-750BF75A751D}"/>
                </a:ext>
              </a:extLst>
            </p:cNvPr>
            <p:cNvSpPr/>
            <p:nvPr/>
          </p:nvSpPr>
          <p:spPr>
            <a:xfrm>
              <a:off x="2099625" y="1692433"/>
              <a:ext cx="1951752" cy="14275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92" name="Retângulo 191">
              <a:extLst>
                <a:ext uri="{FF2B5EF4-FFF2-40B4-BE49-F238E27FC236}">
                  <a16:creationId xmlns="" xmlns:a16="http://schemas.microsoft.com/office/drawing/2014/main" id="{5FAAED18-3CF2-7C49-A9D4-D7D64BBC2A2C}"/>
                </a:ext>
              </a:extLst>
            </p:cNvPr>
            <p:cNvSpPr/>
            <p:nvPr/>
          </p:nvSpPr>
          <p:spPr>
            <a:xfrm>
              <a:off x="1686453" y="2136047"/>
              <a:ext cx="616573" cy="2878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93" name="CaixaDeTexto 192">
              <a:extLst>
                <a:ext uri="{FF2B5EF4-FFF2-40B4-BE49-F238E27FC236}">
                  <a16:creationId xmlns="" xmlns:a16="http://schemas.microsoft.com/office/drawing/2014/main" id="{691E3249-4532-084F-B738-D27061977EC8}"/>
                </a:ext>
              </a:extLst>
            </p:cNvPr>
            <p:cNvSpPr txBox="1"/>
            <p:nvPr/>
          </p:nvSpPr>
          <p:spPr>
            <a:xfrm>
              <a:off x="2310052" y="1627056"/>
              <a:ext cx="12324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>
                  <a:latin typeface="Century Gothic" panose="020B0502020202020204" pitchFamily="34" charset="0"/>
                </a:rPr>
                <a:t>~14%</a:t>
              </a:r>
            </a:p>
          </p:txBody>
        </p:sp>
        <p:sp>
          <p:nvSpPr>
            <p:cNvPr id="194" name="CaixaDeTexto 193">
              <a:extLst>
                <a:ext uri="{FF2B5EF4-FFF2-40B4-BE49-F238E27FC236}">
                  <a16:creationId xmlns="" xmlns:a16="http://schemas.microsoft.com/office/drawing/2014/main" id="{726B1415-BC76-364D-925E-F8DDDA358AFC}"/>
                </a:ext>
              </a:extLst>
            </p:cNvPr>
            <p:cNvSpPr txBox="1"/>
            <p:nvPr/>
          </p:nvSpPr>
          <p:spPr>
            <a:xfrm>
              <a:off x="2036746" y="4556800"/>
              <a:ext cx="183968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>
                  <a:latin typeface="Century Gothic" panose="020B0502020202020204" pitchFamily="34" charset="0"/>
                </a:rPr>
                <a:t>Prevalência Desconhecida</a:t>
              </a:r>
            </a:p>
          </p:txBody>
        </p:sp>
        <p:sp>
          <p:nvSpPr>
            <p:cNvPr id="195" name="CaixaDeTexto 194">
              <a:extLst>
                <a:ext uri="{FF2B5EF4-FFF2-40B4-BE49-F238E27FC236}">
                  <a16:creationId xmlns="" xmlns:a16="http://schemas.microsoft.com/office/drawing/2014/main" id="{7A2087D0-E77D-A042-96D8-97A1D4ED594D}"/>
                </a:ext>
              </a:extLst>
            </p:cNvPr>
            <p:cNvSpPr txBox="1"/>
            <p:nvPr/>
          </p:nvSpPr>
          <p:spPr>
            <a:xfrm>
              <a:off x="4051377" y="769103"/>
              <a:ext cx="1862265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pt-BR">
                  <a:latin typeface="Century Gothic" panose="020B0502020202020204" pitchFamily="34" charset="0"/>
                </a:rPr>
                <a:t>Doença</a:t>
              </a:r>
            </a:p>
            <a:p>
              <a:pPr algn="ctr"/>
              <a:r>
                <a:rPr lang="pt-BR">
                  <a:latin typeface="Century Gothic" panose="020B0502020202020204" pitchFamily="34" charset="0"/>
                </a:rPr>
                <a:t>Auto-Limitante</a:t>
              </a:r>
            </a:p>
          </p:txBody>
        </p:sp>
        <p:sp>
          <p:nvSpPr>
            <p:cNvPr id="196" name="CaixaDeTexto 195">
              <a:extLst>
                <a:ext uri="{FF2B5EF4-FFF2-40B4-BE49-F238E27FC236}">
                  <a16:creationId xmlns="" xmlns:a16="http://schemas.microsoft.com/office/drawing/2014/main" id="{51DD1749-6087-2044-9224-EC6244CF0496}"/>
                </a:ext>
              </a:extLst>
            </p:cNvPr>
            <p:cNvSpPr txBox="1"/>
            <p:nvPr/>
          </p:nvSpPr>
          <p:spPr>
            <a:xfrm>
              <a:off x="4075971" y="3592840"/>
              <a:ext cx="1862265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pt-BR" dirty="0">
                  <a:latin typeface="Century Gothic" panose="020B0502020202020204" pitchFamily="34" charset="0"/>
                </a:rPr>
                <a:t>Doença</a:t>
              </a:r>
            </a:p>
            <a:p>
              <a:pPr algn="ctr"/>
              <a:r>
                <a:rPr lang="pt-BR" dirty="0" err="1">
                  <a:latin typeface="Century Gothic" panose="020B0502020202020204" pitchFamily="34" charset="0"/>
                </a:rPr>
                <a:t>Auto-Limitante</a:t>
              </a:r>
              <a:endParaRPr lang="pt-BR" dirty="0">
                <a:latin typeface="Century Gothic" panose="020B0502020202020204" pitchFamily="34" charset="0"/>
              </a:endParaRPr>
            </a:p>
          </p:txBody>
        </p:sp>
        <p:sp>
          <p:nvSpPr>
            <p:cNvPr id="197" name="CaixaDeTexto 196">
              <a:extLst>
                <a:ext uri="{FF2B5EF4-FFF2-40B4-BE49-F238E27FC236}">
                  <a16:creationId xmlns="" xmlns:a16="http://schemas.microsoft.com/office/drawing/2014/main" id="{841896AA-A569-FF4D-AF84-1195B678A477}"/>
                </a:ext>
              </a:extLst>
            </p:cNvPr>
            <p:cNvSpPr txBox="1"/>
            <p:nvPr/>
          </p:nvSpPr>
          <p:spPr>
            <a:xfrm>
              <a:off x="3832628" y="4341008"/>
              <a:ext cx="2387638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pt-BR" b="1" dirty="0">
                  <a:latin typeface="Century Gothic" panose="020B0502020202020204" pitchFamily="34" charset="0"/>
                </a:rPr>
                <a:t>Complicações Neurológicas</a:t>
              </a:r>
            </a:p>
          </p:txBody>
        </p:sp>
        <p:sp>
          <p:nvSpPr>
            <p:cNvPr id="198" name="CaixaDeTexto 197">
              <a:extLst>
                <a:ext uri="{FF2B5EF4-FFF2-40B4-BE49-F238E27FC236}">
                  <a16:creationId xmlns="" xmlns:a16="http://schemas.microsoft.com/office/drawing/2014/main" id="{920C58F7-57E2-3244-A73D-CCB696A67939}"/>
                </a:ext>
              </a:extLst>
            </p:cNvPr>
            <p:cNvSpPr txBox="1"/>
            <p:nvPr/>
          </p:nvSpPr>
          <p:spPr>
            <a:xfrm>
              <a:off x="3699264" y="1470562"/>
              <a:ext cx="2387638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pt-BR" b="1" dirty="0">
                  <a:latin typeface="Century Gothic" panose="020B0502020202020204" pitchFamily="34" charset="0"/>
                </a:rPr>
                <a:t>Complicações Neurológicas</a:t>
              </a:r>
            </a:p>
          </p:txBody>
        </p:sp>
        <p:sp>
          <p:nvSpPr>
            <p:cNvPr id="199" name="CaixaDeTexto 198">
              <a:extLst>
                <a:ext uri="{FF2B5EF4-FFF2-40B4-BE49-F238E27FC236}">
                  <a16:creationId xmlns="" xmlns:a16="http://schemas.microsoft.com/office/drawing/2014/main" id="{159217CC-741F-734B-9BE9-FEC0ECC3DF03}"/>
                </a:ext>
              </a:extLst>
            </p:cNvPr>
            <p:cNvSpPr txBox="1"/>
            <p:nvPr/>
          </p:nvSpPr>
          <p:spPr>
            <a:xfrm>
              <a:off x="3732103" y="2123145"/>
              <a:ext cx="2387638" cy="52322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dirty="0">
                  <a:latin typeface="Century Gothic" panose="020B0502020202020204" pitchFamily="34" charset="0"/>
                </a:rPr>
                <a:t>Síndrome Congênita do Zika vírus</a:t>
              </a:r>
            </a:p>
          </p:txBody>
        </p:sp>
        <p:sp>
          <p:nvSpPr>
            <p:cNvPr id="200" name="CaixaDeTexto 199">
              <a:extLst>
                <a:ext uri="{FF2B5EF4-FFF2-40B4-BE49-F238E27FC236}">
                  <a16:creationId xmlns="" xmlns:a16="http://schemas.microsoft.com/office/drawing/2014/main" id="{35669817-BD19-4844-A7EA-DC6264B82AA6}"/>
                </a:ext>
              </a:extLst>
            </p:cNvPr>
            <p:cNvSpPr txBox="1"/>
            <p:nvPr/>
          </p:nvSpPr>
          <p:spPr>
            <a:xfrm>
              <a:off x="3832628" y="4909928"/>
              <a:ext cx="2387638" cy="116955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dirty="0">
                  <a:latin typeface="Century Gothic" panose="020B0502020202020204" pitchFamily="34" charset="0"/>
                </a:rPr>
                <a:t>Síndrome de </a:t>
              </a:r>
            </a:p>
            <a:p>
              <a:pPr algn="ctr"/>
              <a:r>
                <a:rPr lang="pt-BR" sz="1400" dirty="0" err="1">
                  <a:latin typeface="Century Gothic" panose="020B0502020202020204" pitchFamily="34" charset="0"/>
                </a:rPr>
                <a:t>Guillain-Barré</a:t>
              </a:r>
              <a:r>
                <a:rPr lang="pt-BR" sz="1400" dirty="0">
                  <a:latin typeface="Century Gothic" panose="020B0502020202020204" pitchFamily="34" charset="0"/>
                </a:rPr>
                <a:t> e Encefalites</a:t>
              </a:r>
            </a:p>
            <a:p>
              <a:pPr algn="ctr"/>
              <a:endParaRPr lang="pt-BR" sz="1400" dirty="0">
                <a:latin typeface="Century Gothic" panose="020B0502020202020204" pitchFamily="34" charset="0"/>
              </a:endParaRPr>
            </a:p>
            <a:p>
              <a:pPr algn="ctr"/>
              <a:endParaRPr lang="pt-BR" sz="1400" dirty="0">
                <a:latin typeface="Century Gothic" panose="020B0502020202020204" pitchFamily="34" charset="0"/>
              </a:endParaRPr>
            </a:p>
          </p:txBody>
        </p:sp>
      </p:grpSp>
      <p:sp>
        <p:nvSpPr>
          <p:cNvPr id="201" name="CaixaDeTexto 200">
            <a:extLst>
              <a:ext uri="{FF2B5EF4-FFF2-40B4-BE49-F238E27FC236}">
                <a16:creationId xmlns="" xmlns:a16="http://schemas.microsoft.com/office/drawing/2014/main" id="{56315D58-1295-4649-954B-8C081B22B5CB}"/>
              </a:ext>
            </a:extLst>
          </p:cNvPr>
          <p:cNvSpPr txBox="1"/>
          <p:nvPr/>
        </p:nvSpPr>
        <p:spPr>
          <a:xfrm>
            <a:off x="5850995" y="6506941"/>
            <a:ext cx="63410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Adaptado de Souza, Barros-Aragão e col., </a:t>
            </a:r>
            <a:r>
              <a:rPr lang="pt-BR" dirty="0" err="1"/>
              <a:t>Pharmaceuticals</a:t>
            </a:r>
            <a:r>
              <a:rPr lang="pt-BR" dirty="0"/>
              <a:t>, 2019</a:t>
            </a:r>
          </a:p>
        </p:txBody>
      </p:sp>
    </p:spTree>
    <p:extLst>
      <p:ext uri="{BB962C8B-B14F-4D97-AF65-F5344CB8AC3E}">
        <p14:creationId xmlns:p14="http://schemas.microsoft.com/office/powerpoint/2010/main" val="37145327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ounded Rectangle 48">
            <a:extLst>
              <a:ext uri="{FF2B5EF4-FFF2-40B4-BE49-F238E27FC236}">
                <a16:creationId xmlns="" xmlns:a16="http://schemas.microsoft.com/office/drawing/2014/main" id="{912603D3-B9FC-6648-B365-F0252AE4750B}"/>
              </a:ext>
            </a:extLst>
          </p:cNvPr>
          <p:cNvSpPr/>
          <p:nvPr/>
        </p:nvSpPr>
        <p:spPr>
          <a:xfrm rot="2700000">
            <a:off x="5212405" y="4433009"/>
            <a:ext cx="1657819" cy="1657819"/>
          </a:xfrm>
          <a:prstGeom prst="roundRect">
            <a:avLst>
              <a:gd name="adj" fmla="val 7478"/>
            </a:avLst>
          </a:prstGeom>
          <a:gradFill flip="none" rotWithShape="1">
            <a:gsLst>
              <a:gs pos="15000">
                <a:srgbClr val="285066"/>
              </a:gs>
              <a:gs pos="29000">
                <a:srgbClr val="366C89"/>
              </a:gs>
              <a:gs pos="92000">
                <a:srgbClr val="EF7D4F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9" name="Rounded Rectangle 48"/>
          <p:cNvSpPr/>
          <p:nvPr/>
        </p:nvSpPr>
        <p:spPr>
          <a:xfrm rot="2700000">
            <a:off x="2257548" y="4465249"/>
            <a:ext cx="1657819" cy="1657819"/>
          </a:xfrm>
          <a:prstGeom prst="roundRect">
            <a:avLst>
              <a:gd name="adj" fmla="val 7478"/>
            </a:avLst>
          </a:prstGeom>
          <a:gradFill flip="none" rotWithShape="1">
            <a:gsLst>
              <a:gs pos="15000">
                <a:srgbClr val="285066"/>
              </a:gs>
              <a:gs pos="29000">
                <a:srgbClr val="366C89"/>
              </a:gs>
              <a:gs pos="92000">
                <a:srgbClr val="EF7D4F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082926" y="970582"/>
            <a:ext cx="6026150" cy="61555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pt-BR" sz="2000" dirty="0">
                <a:latin typeface="Century Gothic" panose="020B0502020202020204" pitchFamily="34" charset="0"/>
              </a:rPr>
              <a:t>O vírus da Zika infecta o cérebro adulto e pode trazer problemas na memória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96480" y="183601"/>
            <a:ext cx="2999040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4800" b="1" dirty="0">
                <a:gradFill>
                  <a:gsLst>
                    <a:gs pos="0">
                      <a:srgbClr val="285066"/>
                    </a:gs>
                    <a:gs pos="24000">
                      <a:srgbClr val="366C89"/>
                    </a:gs>
                    <a:gs pos="100000">
                      <a:srgbClr val="EF7D4F"/>
                    </a:gs>
                  </a:gsLst>
                  <a:lin ang="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GENDA</a:t>
            </a:r>
            <a:endParaRPr lang="pt-BR" sz="4800" dirty="0">
              <a:gradFill>
                <a:gsLst>
                  <a:gs pos="0">
                    <a:srgbClr val="285066"/>
                  </a:gs>
                  <a:gs pos="24000">
                    <a:srgbClr val="366C89"/>
                  </a:gs>
                  <a:gs pos="100000">
                    <a:srgbClr val="EF7D4F"/>
                  </a:gs>
                </a:gsLst>
                <a:lin ang="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3082925" y="883328"/>
            <a:ext cx="6026150" cy="0"/>
          </a:xfrm>
          <a:prstGeom prst="line">
            <a:avLst/>
          </a:prstGeom>
          <a:ln w="12700" cap="rnd">
            <a:gradFill flip="none" rotWithShape="1">
              <a:gsLst>
                <a:gs pos="0">
                  <a:srgbClr val="285066"/>
                </a:gs>
                <a:gs pos="45000">
                  <a:srgbClr val="366C89"/>
                </a:gs>
                <a:gs pos="100000">
                  <a:srgbClr val="EF7D4F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 txBox="1">
            <a:spLocks/>
          </p:cNvSpPr>
          <p:nvPr/>
        </p:nvSpPr>
        <p:spPr>
          <a:xfrm>
            <a:off x="2865441" y="1861452"/>
            <a:ext cx="47157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8000" b="1" dirty="0">
                <a:solidFill>
                  <a:schemeClr val="tx2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1</a:t>
            </a:r>
            <a:endParaRPr lang="pt-BR" sz="8000" dirty="0">
              <a:solidFill>
                <a:schemeClr val="tx2"/>
              </a:solidFill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5808150" y="1861452"/>
            <a:ext cx="47157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8000" b="1" dirty="0">
                <a:solidFill>
                  <a:schemeClr val="tx2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2</a:t>
            </a:r>
            <a:endParaRPr lang="pt-BR" sz="8000" dirty="0">
              <a:solidFill>
                <a:schemeClr val="tx2"/>
              </a:solidFill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8760899" y="1861452"/>
            <a:ext cx="47157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8000" b="1">
                <a:solidFill>
                  <a:schemeClr val="bg1">
                    <a:lumMod val="85000"/>
                  </a:schemeClr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3</a:t>
            </a:r>
            <a:endParaRPr lang="pt-BR" sz="8000">
              <a:solidFill>
                <a:schemeClr val="bg1">
                  <a:lumMod val="85000"/>
                </a:schemeClr>
              </a:solidFill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4544938" y="1915239"/>
            <a:ext cx="0" cy="4348849"/>
          </a:xfrm>
          <a:prstGeom prst="line">
            <a:avLst/>
          </a:prstGeom>
          <a:ln>
            <a:gradFill>
              <a:gsLst>
                <a:gs pos="0">
                  <a:srgbClr val="24475A"/>
                </a:gs>
                <a:gs pos="50000">
                  <a:srgbClr val="366C89"/>
                </a:gs>
                <a:gs pos="100000">
                  <a:srgbClr val="EF7D4F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512426" y="1915239"/>
            <a:ext cx="0" cy="4348849"/>
          </a:xfrm>
          <a:prstGeom prst="line">
            <a:avLst/>
          </a:prstGeom>
          <a:ln>
            <a:gradFill>
              <a:gsLst>
                <a:gs pos="0">
                  <a:srgbClr val="24475A"/>
                </a:gs>
                <a:gs pos="50000">
                  <a:srgbClr val="366C89"/>
                </a:gs>
                <a:gs pos="100000">
                  <a:srgbClr val="EF7D4F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/>
          <p:cNvSpPr txBox="1">
            <a:spLocks/>
          </p:cNvSpPr>
          <p:nvPr/>
        </p:nvSpPr>
        <p:spPr>
          <a:xfrm>
            <a:off x="1845889" y="3038121"/>
            <a:ext cx="2510682" cy="9233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pt-BR" sz="2000" b="1" dirty="0">
                <a:latin typeface="Century Gothic" panose="020B0502020202020204" pitchFamily="34" charset="0"/>
              </a:rPr>
              <a:t>Por que estudar os efeitos do vírus da Zika em adultos?</a:t>
            </a: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4788598" y="3192009"/>
            <a:ext cx="2510682" cy="61555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pt-BR" sz="2000" b="1" dirty="0">
                <a:latin typeface="Century Gothic" panose="020B0502020202020204" pitchFamily="34" charset="0"/>
              </a:rPr>
              <a:t>O que descobrimos?</a:t>
            </a:r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7741347" y="3192009"/>
            <a:ext cx="2510682" cy="61555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pt-BR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Quais são as perspectivas?</a:t>
            </a:r>
          </a:p>
        </p:txBody>
      </p:sp>
      <p:sp>
        <p:nvSpPr>
          <p:cNvPr id="56" name="Rounded Rectangle 55"/>
          <p:cNvSpPr/>
          <p:nvPr/>
        </p:nvSpPr>
        <p:spPr>
          <a:xfrm rot="2700000">
            <a:off x="8167261" y="4465250"/>
            <a:ext cx="1657819" cy="1657819"/>
          </a:xfrm>
          <a:prstGeom prst="roundRect">
            <a:avLst>
              <a:gd name="adj" fmla="val 7478"/>
            </a:avLst>
          </a:prstGeom>
          <a:gradFill flip="none" rotWithShape="1">
            <a:gsLst>
              <a:gs pos="15000">
                <a:srgbClr val="8497B0"/>
              </a:gs>
              <a:gs pos="48000">
                <a:srgbClr val="D9D9D9"/>
              </a:gs>
              <a:gs pos="94000">
                <a:srgbClr val="D9D9D9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="" xmlns:a16="http://schemas.microsoft.com/office/drawing/2014/main" id="{FFC05DF5-C4FA-3C4E-8867-E5E1C7325CF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9384" y="4824025"/>
            <a:ext cx="1273329" cy="811748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="" xmlns:a16="http://schemas.microsoft.com/office/drawing/2014/main" id="{D6F9F508-333E-934B-8342-22EDA594F63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8806" y="4824022"/>
            <a:ext cx="1441009" cy="870609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="" xmlns:a16="http://schemas.microsoft.com/office/drawing/2014/main" id="{8C2FC30C-8717-9743-81FE-8EC2BCC7A76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alphaModFix amt="3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7119" y="4747052"/>
            <a:ext cx="1506227" cy="1024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3459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1999" cy="1606550"/>
          </a:xfrm>
          <a:prstGeom prst="rect">
            <a:avLst/>
          </a:prstGeom>
          <a:gradFill flip="none" rotWithShape="1">
            <a:gsLst>
              <a:gs pos="0">
                <a:srgbClr val="295268"/>
              </a:gs>
              <a:gs pos="43000">
                <a:srgbClr val="366C89"/>
              </a:gs>
              <a:gs pos="100000">
                <a:srgbClr val="EA7D5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335279" y="967751"/>
            <a:ext cx="11521440" cy="4308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pt-BR" sz="1400">
                <a:solidFill>
                  <a:schemeClr val="bg1"/>
                </a:solidFill>
                <a:latin typeface="Century Gothic" panose="020B0502020202020204" pitchFamily="34" charset="0"/>
              </a:rPr>
              <a:t>Apesar de sabido que o vírus da Zika pode chegar ao cérebro de pacientes adultos, não se sabia se ele poderia estabelecer uma infecção local. Pensava-se que o vírus somente seria capaz de infectar células neurais em desenvolvimento (progenitoras). 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35279" y="341109"/>
            <a:ext cx="11521440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 vírus da Zika é capaz de infectar o cérebro de adultos?</a:t>
            </a:r>
          </a:p>
        </p:txBody>
      </p:sp>
      <p:grpSp>
        <p:nvGrpSpPr>
          <p:cNvPr id="8" name="Agrupar 7">
            <a:extLst>
              <a:ext uri="{FF2B5EF4-FFF2-40B4-BE49-F238E27FC236}">
                <a16:creationId xmlns="" xmlns:a16="http://schemas.microsoft.com/office/drawing/2014/main" id="{D4BA6BB6-4CA0-CE40-A354-094EF2333CDC}"/>
              </a:ext>
            </a:extLst>
          </p:cNvPr>
          <p:cNvGrpSpPr/>
          <p:nvPr/>
        </p:nvGrpSpPr>
        <p:grpSpPr>
          <a:xfrm>
            <a:off x="527303" y="1734594"/>
            <a:ext cx="11664696" cy="5028944"/>
            <a:chOff x="527303" y="1734594"/>
            <a:chExt cx="11664696" cy="5028944"/>
          </a:xfrm>
        </p:grpSpPr>
        <p:pic>
          <p:nvPicPr>
            <p:cNvPr id="27" name="Imagem 26">
              <a:extLst>
                <a:ext uri="{FF2B5EF4-FFF2-40B4-BE49-F238E27FC236}">
                  <a16:creationId xmlns="" xmlns:a16="http://schemas.microsoft.com/office/drawing/2014/main" id="{5E2F7DB8-4B02-6241-B644-7E139BB8D5C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7303" y="1734594"/>
              <a:ext cx="11137392" cy="4449542"/>
            </a:xfrm>
            <a:prstGeom prst="rect">
              <a:avLst/>
            </a:prstGeom>
          </p:spPr>
        </p:pic>
        <p:sp>
          <p:nvSpPr>
            <p:cNvPr id="6" name="CaixaDeTexto 5">
              <a:extLst>
                <a:ext uri="{FF2B5EF4-FFF2-40B4-BE49-F238E27FC236}">
                  <a16:creationId xmlns="" xmlns:a16="http://schemas.microsoft.com/office/drawing/2014/main" id="{8FD59B0B-BF39-1A43-8A36-68AD175C49B3}"/>
                </a:ext>
              </a:extLst>
            </p:cNvPr>
            <p:cNvSpPr txBox="1"/>
            <p:nvPr/>
          </p:nvSpPr>
          <p:spPr>
            <a:xfrm>
              <a:off x="4589931" y="5896681"/>
              <a:ext cx="740484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t-BR" sz="2400" dirty="0">
                  <a:latin typeface="Century Gothic" panose="020B0502020202020204" pitchFamily="34" charset="0"/>
                </a:rPr>
                <a:t>Sim, o Vírus da Zika</a:t>
              </a:r>
            </a:p>
            <a:p>
              <a:pPr algn="r"/>
              <a:r>
                <a:rPr lang="pt-BR" sz="2400" dirty="0">
                  <a:latin typeface="Century Gothic" panose="020B0502020202020204" pitchFamily="34" charset="0"/>
                </a:rPr>
                <a:t> é capaz de infectar o cérebro de adultos.</a:t>
              </a:r>
            </a:p>
          </p:txBody>
        </p:sp>
        <p:sp>
          <p:nvSpPr>
            <p:cNvPr id="7" name="Retângulo 6">
              <a:extLst>
                <a:ext uri="{FF2B5EF4-FFF2-40B4-BE49-F238E27FC236}">
                  <a16:creationId xmlns="" xmlns:a16="http://schemas.microsoft.com/office/drawing/2014/main" id="{B78FCCA7-3FA0-374B-9175-2BA7ABCA5FDD}"/>
                </a:ext>
              </a:extLst>
            </p:cNvPr>
            <p:cNvSpPr/>
            <p:nvPr/>
          </p:nvSpPr>
          <p:spPr>
            <a:xfrm>
              <a:off x="7691718" y="2743200"/>
              <a:ext cx="4303059" cy="161364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Retângulo 8">
              <a:extLst>
                <a:ext uri="{FF2B5EF4-FFF2-40B4-BE49-F238E27FC236}">
                  <a16:creationId xmlns="" xmlns:a16="http://schemas.microsoft.com/office/drawing/2014/main" id="{07B216E9-5C9F-974C-AB9C-D4F144C2F1EB}"/>
                </a:ext>
              </a:extLst>
            </p:cNvPr>
            <p:cNvSpPr/>
            <p:nvPr/>
          </p:nvSpPr>
          <p:spPr>
            <a:xfrm>
              <a:off x="8659906" y="4123766"/>
              <a:ext cx="3532093" cy="26397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Retângulo 9">
              <a:extLst>
                <a:ext uri="{FF2B5EF4-FFF2-40B4-BE49-F238E27FC236}">
                  <a16:creationId xmlns="" xmlns:a16="http://schemas.microsoft.com/office/drawing/2014/main" id="{922E865F-D71E-F945-848B-CD93CCC7D553}"/>
                </a:ext>
              </a:extLst>
            </p:cNvPr>
            <p:cNvSpPr/>
            <p:nvPr/>
          </p:nvSpPr>
          <p:spPr>
            <a:xfrm>
              <a:off x="5441578" y="6184136"/>
              <a:ext cx="3532093" cy="5435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3" name="CaixaDeTexto 12">
            <a:extLst>
              <a:ext uri="{FF2B5EF4-FFF2-40B4-BE49-F238E27FC236}">
                <a16:creationId xmlns="" xmlns:a16="http://schemas.microsoft.com/office/drawing/2014/main" id="{9E857EF9-51BE-0D48-B170-82E53B3A26EA}"/>
              </a:ext>
            </a:extLst>
          </p:cNvPr>
          <p:cNvSpPr txBox="1"/>
          <p:nvPr/>
        </p:nvSpPr>
        <p:spPr>
          <a:xfrm>
            <a:off x="0" y="6454980"/>
            <a:ext cx="63410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Figueiredo, Barros-Aragão, </a:t>
            </a:r>
            <a:r>
              <a:rPr lang="pt-BR" sz="1600" dirty="0" err="1"/>
              <a:t>Neris</a:t>
            </a:r>
            <a:r>
              <a:rPr lang="pt-BR" sz="1600" dirty="0"/>
              <a:t> e col., </a:t>
            </a:r>
            <a:r>
              <a:rPr lang="pt-BR" sz="1600" dirty="0" err="1"/>
              <a:t>Nature</a:t>
            </a:r>
            <a:r>
              <a:rPr lang="pt-BR" sz="1600" dirty="0"/>
              <a:t> </a:t>
            </a:r>
            <a:r>
              <a:rPr lang="pt-BR" sz="1600" dirty="0" err="1"/>
              <a:t>Comm</a:t>
            </a:r>
            <a:r>
              <a:rPr lang="pt-BR" sz="1600" dirty="0"/>
              <a:t>., 2019</a:t>
            </a:r>
          </a:p>
        </p:txBody>
      </p:sp>
    </p:spTree>
    <p:extLst>
      <p:ext uri="{BB962C8B-B14F-4D97-AF65-F5344CB8AC3E}">
        <p14:creationId xmlns:p14="http://schemas.microsoft.com/office/powerpoint/2010/main" val="34018718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1999" cy="1606550"/>
          </a:xfrm>
          <a:prstGeom prst="rect">
            <a:avLst/>
          </a:prstGeom>
          <a:gradFill flip="none" rotWithShape="1">
            <a:gsLst>
              <a:gs pos="0">
                <a:srgbClr val="295268"/>
              </a:gs>
              <a:gs pos="43000">
                <a:srgbClr val="366C89"/>
              </a:gs>
              <a:gs pos="100000">
                <a:srgbClr val="EA7D5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335279" y="967751"/>
            <a:ext cx="11521440" cy="4308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pt-BR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Apesar de sabido que o vírus da Zika pode chegar ao cérebro de pacientes adultos, não se sabia se ele poderia estabelecer uma infecção local. Pensava-se que o vírus somente seria capaz de infectar células neurais em desenvolvimento (progenitoras). 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35279" y="341109"/>
            <a:ext cx="11521440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 vírus da Zika é capaz de infectar o cérebro de adultos?</a:t>
            </a:r>
          </a:p>
        </p:txBody>
      </p:sp>
      <p:pic>
        <p:nvPicPr>
          <p:cNvPr id="27" name="Imagem 26">
            <a:extLst>
              <a:ext uri="{FF2B5EF4-FFF2-40B4-BE49-F238E27FC236}">
                <a16:creationId xmlns="" xmlns:a16="http://schemas.microsoft.com/office/drawing/2014/main" id="{5E2F7DB8-4B02-6241-B644-7E139BB8D5C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303" y="1734594"/>
            <a:ext cx="11137392" cy="4449542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="" xmlns:a16="http://schemas.microsoft.com/office/drawing/2014/main" id="{8FD59B0B-BF39-1A43-8A36-68AD175C49B3}"/>
              </a:ext>
            </a:extLst>
          </p:cNvPr>
          <p:cNvSpPr txBox="1"/>
          <p:nvPr/>
        </p:nvSpPr>
        <p:spPr>
          <a:xfrm>
            <a:off x="4589931" y="5896681"/>
            <a:ext cx="74048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2400" dirty="0">
                <a:latin typeface="Century Gothic" panose="020B0502020202020204" pitchFamily="34" charset="0"/>
              </a:rPr>
              <a:t>Sim, o Vírus da Zika</a:t>
            </a:r>
          </a:p>
          <a:p>
            <a:pPr algn="r"/>
            <a:r>
              <a:rPr lang="pt-BR" sz="2400" dirty="0">
                <a:latin typeface="Century Gothic" panose="020B0502020202020204" pitchFamily="34" charset="0"/>
              </a:rPr>
              <a:t> é capaz de infectar o cérebro de adultos.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="" xmlns:a16="http://schemas.microsoft.com/office/drawing/2014/main" id="{C8EDB40C-58F6-5445-B51A-571CAAADF1D7}"/>
              </a:ext>
            </a:extLst>
          </p:cNvPr>
          <p:cNvSpPr txBox="1"/>
          <p:nvPr/>
        </p:nvSpPr>
        <p:spPr>
          <a:xfrm>
            <a:off x="0" y="6454980"/>
            <a:ext cx="63410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Figueiredo, Barros-Aragão, </a:t>
            </a:r>
            <a:r>
              <a:rPr lang="pt-BR" sz="1600" dirty="0" err="1"/>
              <a:t>Neris</a:t>
            </a:r>
            <a:r>
              <a:rPr lang="pt-BR" sz="1600" dirty="0"/>
              <a:t> e col., </a:t>
            </a:r>
            <a:r>
              <a:rPr lang="pt-BR" sz="1600" dirty="0" err="1"/>
              <a:t>Nature</a:t>
            </a:r>
            <a:r>
              <a:rPr lang="pt-BR" sz="1600" dirty="0"/>
              <a:t> </a:t>
            </a:r>
            <a:r>
              <a:rPr lang="pt-BR" sz="1600" dirty="0" err="1"/>
              <a:t>Comm</a:t>
            </a:r>
            <a:r>
              <a:rPr lang="pt-BR" sz="1600" dirty="0"/>
              <a:t>., 2019</a:t>
            </a:r>
          </a:p>
        </p:txBody>
      </p:sp>
    </p:spTree>
    <p:extLst>
      <p:ext uri="{BB962C8B-B14F-4D97-AF65-F5344CB8AC3E}">
        <p14:creationId xmlns:p14="http://schemas.microsoft.com/office/powerpoint/2010/main" val="29053373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FDlxoVzk2jEL6Yv6TLc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02</TotalTime>
  <Words>902</Words>
  <Application>Microsoft Office PowerPoint</Application>
  <PresentationFormat>Widescreen</PresentationFormat>
  <Paragraphs>139</Paragraphs>
  <Slides>15</Slides>
  <Notes>9</Notes>
  <HiddenSlides>0</HiddenSlides>
  <MMClips>0</MMClips>
  <ScaleCrop>false</ScaleCrop>
  <HeadingPairs>
    <vt:vector size="6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15</vt:i4>
      </vt:variant>
    </vt:vector>
  </HeadingPairs>
  <TitlesOfParts>
    <vt:vector size="22" baseType="lpstr">
      <vt:lpstr>MS PGothic</vt:lpstr>
      <vt:lpstr>Arial</vt:lpstr>
      <vt:lpstr>Calibri</vt:lpstr>
      <vt:lpstr>Calibri Light</vt:lpstr>
      <vt:lpstr>Century Gothic</vt:lpstr>
      <vt:lpstr>Segoe UI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u wikan</dc:creator>
  <cp:lastModifiedBy>Saulo Kleber Rodrigues Ribeiro</cp:lastModifiedBy>
  <cp:revision>215</cp:revision>
  <dcterms:created xsi:type="dcterms:W3CDTF">2017-01-06T03:18:07Z</dcterms:created>
  <dcterms:modified xsi:type="dcterms:W3CDTF">2020-03-11T10:34:58Z</dcterms:modified>
</cp:coreProperties>
</file>